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6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7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8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9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0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1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12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heme/theme1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14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15.xml" ContentType="application/vnd.openxmlformats-officedocument.theme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theme/theme16.xml" ContentType="application/vnd.openxmlformats-officedocument.theme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theme/theme17.xml" ContentType="application/vnd.openxmlformats-officedocument.theme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theme/theme18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theme/theme19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theme/theme20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theme/theme21.xml" ContentType="application/vnd.openxmlformats-officedocument.theme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22.xml" ContentType="application/vnd.openxmlformats-officedocument.theme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theme/theme23.xml" ContentType="application/vnd.openxmlformats-officedocument.theme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theme/theme24.xml" ContentType="application/vnd.openxmlformats-officedocument.theme+xml"/>
  <Override PartName="/ppt/theme/theme25.xml" ContentType="application/vnd.openxmlformats-officedocument.theme+xml"/>
  <Override PartName="/ppt/theme/theme2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9" r:id="rId1"/>
    <p:sldMasterId id="2147483858" r:id="rId2"/>
    <p:sldMasterId id="2147483893" r:id="rId3"/>
    <p:sldMasterId id="2147483932" r:id="rId4"/>
    <p:sldMasterId id="2147483982" r:id="rId5"/>
    <p:sldMasterId id="2147484009" r:id="rId6"/>
    <p:sldMasterId id="2147484029" r:id="rId7"/>
    <p:sldMasterId id="2147484049" r:id="rId8"/>
    <p:sldMasterId id="2147484069" r:id="rId9"/>
    <p:sldMasterId id="2147484089" r:id="rId10"/>
    <p:sldMasterId id="2147484109" r:id="rId11"/>
    <p:sldMasterId id="2147484129" r:id="rId12"/>
    <p:sldMasterId id="2147484150" r:id="rId13"/>
    <p:sldMasterId id="2147484187" r:id="rId14"/>
    <p:sldMasterId id="2147484255" r:id="rId15"/>
    <p:sldMasterId id="2147484300" r:id="rId16"/>
    <p:sldMasterId id="2147484388" r:id="rId17"/>
    <p:sldMasterId id="2147484416" r:id="rId18"/>
    <p:sldMasterId id="2147484439" r:id="rId19"/>
    <p:sldMasterId id="2147484460" r:id="rId20"/>
    <p:sldMasterId id="2147484485" r:id="rId21"/>
    <p:sldMasterId id="2147484583" r:id="rId22"/>
    <p:sldMasterId id="2147484612" r:id="rId23"/>
    <p:sldMasterId id="2147484648" r:id="rId24"/>
  </p:sldMasterIdLst>
  <p:notesMasterIdLst>
    <p:notesMasterId r:id="rId33"/>
  </p:notesMasterIdLst>
  <p:handoutMasterIdLst>
    <p:handoutMasterId r:id="rId34"/>
  </p:handoutMasterIdLst>
  <p:sldIdLst>
    <p:sldId id="2147373932" r:id="rId25"/>
    <p:sldId id="2147373941" r:id="rId26"/>
    <p:sldId id="2147373947" r:id="rId27"/>
    <p:sldId id="2147373943" r:id="rId28"/>
    <p:sldId id="2147373942" r:id="rId29"/>
    <p:sldId id="2147373946" r:id="rId30"/>
    <p:sldId id="2147373944" r:id="rId31"/>
    <p:sldId id="2147373945" r:id="rId32"/>
  </p:sldIdLst>
  <p:sldSz cx="12192000" cy="6858000"/>
  <p:notesSz cx="6797675" cy="9926638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megapoint presentation" id="{14166551-5568-6F49-A310-C4C1B586135C}">
          <p14:sldIdLst>
            <p14:sldId id="2147373932"/>
            <p14:sldId id="2147373941"/>
            <p14:sldId id="2147373947"/>
            <p14:sldId id="2147373943"/>
            <p14:sldId id="2147373942"/>
            <p14:sldId id="2147373946"/>
            <p14:sldId id="2147373944"/>
            <p14:sldId id="214737394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9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49"/>
    <a:srgbClr val="0F3249"/>
    <a:srgbClr val="93B0B2"/>
    <a:srgbClr val="FFFFFF"/>
    <a:srgbClr val="D7D2CB"/>
    <a:srgbClr val="93B1B3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452" autoAdjust="0"/>
  </p:normalViewPr>
  <p:slideViewPr>
    <p:cSldViewPr snapToGrid="0">
      <p:cViewPr varScale="1">
        <p:scale>
          <a:sx n="118" d="100"/>
          <a:sy n="118" d="100"/>
        </p:scale>
        <p:origin x="2202" y="324"/>
      </p:cViewPr>
      <p:guideLst>
        <p:guide orient="horz" pos="309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2.xml"/><Relationship Id="rId21" Type="http://schemas.openxmlformats.org/officeDocument/2006/relationships/slideMaster" Target="slideMasters/slideMaster21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8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4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17B3C795-7A70-C14A-98AA-210F93A2BC8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2F32FB05-0D53-2C4C-86E7-E8AC3077B9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743ED2-DA0A-1346-9C73-A449D08FBA65}" type="datetimeFigureOut">
              <a:rPr lang="sv-SE" smtClean="0"/>
              <a:t>2025-09-1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22141BB-4483-B443-BBA7-C6E6928D28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4DC4E89-F2BE-B648-A135-1CA2888D6DA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E87B20-F68F-AF41-9A9D-EC0231F361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386027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F567AD-65F3-0A42-8679-ADCB15EAC150}" type="datetimeFigureOut">
              <a:rPr lang="sv-SE" smtClean="0"/>
              <a:t>2025-09-1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58A226-8BCB-D848-AF9C-E8FB4F3A389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86353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73D58D-7B38-7FFD-AD79-66EEFB367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A5FA12-07B8-792C-E8ED-1D3ED56449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2AF8B7-9C07-3328-4FE8-8B258A8227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141CFA-BD63-F19F-AA63-335C7A035C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58A226-8BCB-D848-AF9C-E8FB4F3A389A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992855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en viktigaste skillnaden mellan </a:t>
            </a:r>
            <a:r>
              <a:rPr lang="sv-SE" dirty="0" err="1"/>
              <a:t>passkeys</a:t>
            </a:r>
            <a:r>
              <a:rPr lang="sv-SE" dirty="0"/>
              <a:t> och </a:t>
            </a:r>
            <a:r>
              <a:rPr lang="sv-SE" dirty="0" err="1"/>
              <a:t>WebAuthn</a:t>
            </a:r>
            <a:r>
              <a:rPr lang="sv-SE" dirty="0"/>
              <a:t> är att </a:t>
            </a:r>
            <a:r>
              <a:rPr lang="sv-SE" dirty="0" err="1"/>
              <a:t>passkeys</a:t>
            </a:r>
            <a:r>
              <a:rPr lang="sv-SE" dirty="0"/>
              <a:t> är autentiseringsuppgifter som verifierar användare på ett säkert sätt utan risk för nätfiske, medan </a:t>
            </a:r>
            <a:r>
              <a:rPr lang="sv-SE" dirty="0" err="1"/>
              <a:t>WebAuthn</a:t>
            </a:r>
            <a:r>
              <a:rPr lang="sv-SE" dirty="0"/>
              <a:t> är en specifikation som gör det möjligt för utvecklare att implementera stöd för </a:t>
            </a:r>
            <a:r>
              <a:rPr lang="sv-SE" dirty="0" err="1"/>
              <a:t>passkeys</a:t>
            </a:r>
            <a:r>
              <a:rPr lang="sv-SE" dirty="0"/>
              <a:t> i sina webbapplikationer.</a:t>
            </a:r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58A226-8BCB-D848-AF9C-E8FB4F3A389A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742816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DFBE7D-7B34-BC70-8395-89F4EFC9F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DC5FE7-9BD6-5345-F5F1-F4D959CE04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259EA8-2D63-43DD-2169-B5837A3630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CC9B1F-E906-3F22-8293-307630F12B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58A226-8BCB-D848-AF9C-E8FB4F3A389A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14654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png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png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png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7.png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7.png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9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image" Target="../media/image11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image" Target="../media/image10.emf"/><Relationship Id="rId5" Type="http://schemas.openxmlformats.org/officeDocument/2006/relationships/tags" Target="../tags/tag5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57.xml"/><Relationship Id="rId9" Type="http://schemas.openxmlformats.org/officeDocument/2006/relationships/slideMaster" Target="../slideMasters/slideMaster1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10" Type="http://schemas.openxmlformats.org/officeDocument/2006/relationships/image" Target="../media/image12.emf"/><Relationship Id="rId4" Type="http://schemas.openxmlformats.org/officeDocument/2006/relationships/tags" Target="../tags/tag65.xml"/><Relationship Id="rId9" Type="http://schemas.openxmlformats.org/officeDocument/2006/relationships/oleObject" Target="../embeddings/oleObject3.bin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slideMaster" Target="../slideMasters/slideMaster14.xml"/><Relationship Id="rId4" Type="http://schemas.openxmlformats.org/officeDocument/2006/relationships/tags" Target="../tags/tag72.xml"/></Relationships>
</file>

<file path=ppt/slideLayouts/_rels/slideLayout272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6" Type="http://schemas.openxmlformats.org/officeDocument/2006/relationships/image" Target="../media/image12.emf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slideMaster" Target="../slideMasters/slideMaster14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6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6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6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6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7.png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8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8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7.png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7.png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8.png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8.png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8.png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8.png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8.png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3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3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3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3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8.png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8.png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6.png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8.png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3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10.emf"/><Relationship Id="rId5" Type="http://schemas.openxmlformats.org/officeDocument/2006/relationships/tags" Target="../tags/tag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6.xml"/><Relationship Id="rId9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12.emf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1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2" Type="http://schemas.openxmlformats.org/officeDocument/2006/relationships/tags" Target="../tags/tag23.xml"/><Relationship Id="rId16" Type="http://schemas.openxmlformats.org/officeDocument/2006/relationships/image" Target="../media/image12.emf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14400" y="2131485"/>
            <a:ext cx="10363200" cy="1468967"/>
          </a:xfrm>
        </p:spPr>
        <p:txBody>
          <a:bodyPr>
            <a:normAutofit/>
          </a:bodyPr>
          <a:lstStyle>
            <a:lvl1pPr algn="ctr">
              <a:defRPr sz="5333" b="1" i="0"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+mj-lt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A33A924-2749-4C45-BA2C-7DB8EC0B9F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B4FE69-C66B-5E42-8D85-33ED880A7F4E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7E31BB6-9286-0148-BC26-87D791C2F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209759F-6622-F846-B70B-92987A7E9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7DF0FF-66C0-CC4A-8629-E9F85C09E133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11933807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+mn-lt"/>
                <a:cs typeface="Arial"/>
              </a:defRPr>
            </a:lvl1pPr>
            <a:lvl2pPr>
              <a:defRPr>
                <a:latin typeface="+mn-lt"/>
                <a:cs typeface="Arial"/>
              </a:defRPr>
            </a:lvl2pPr>
            <a:lvl3pPr>
              <a:defRPr>
                <a:latin typeface="+mn-lt"/>
                <a:cs typeface="Arial"/>
              </a:defRPr>
            </a:lvl3pPr>
            <a:lvl4pPr>
              <a:defRPr>
                <a:latin typeface="+mn-lt"/>
                <a:cs typeface="Arial"/>
              </a:defRPr>
            </a:lvl4pPr>
            <a:lvl5pPr>
              <a:defRPr>
                <a:latin typeface="+mn-lt"/>
                <a:cs typeface="Arial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16A6FA0-7472-044A-91EA-E70C22A73A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34D570-B80A-0141-8FEF-3798A5D412D6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2F4FCE1-5A4B-3040-9C6C-88B213320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5F1A30C-2481-144C-97E8-7161ECE86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451847-C30B-DD4D-A5F3-2A4F308A2793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8553120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9639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167122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9580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013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8236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226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45436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7000">
                <a:schemeClr val="accent3">
                  <a:lumMod val="20000"/>
                  <a:lumOff val="80000"/>
                  <a:alpha val="0"/>
                </a:schemeClr>
              </a:gs>
              <a:gs pos="100000">
                <a:schemeClr val="accent2"/>
              </a:gs>
              <a:gs pos="97000">
                <a:schemeClr val="accent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sz="12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9EF9439-E24F-4889-8243-89125662988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7029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3833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04055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751861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839200" y="275168"/>
            <a:ext cx="2743200" cy="5746121"/>
          </a:xfrm>
        </p:spPr>
        <p:txBody>
          <a:bodyPr vert="eaVert"/>
          <a:lstStyle>
            <a:lvl1pPr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609600" y="275168"/>
            <a:ext cx="8026400" cy="5746121"/>
          </a:xfrm>
        </p:spPr>
        <p:txBody>
          <a:bodyPr vert="eaVert"/>
          <a:lstStyle>
            <a:lvl1pPr>
              <a:defRPr>
                <a:latin typeface="+mn-lt"/>
                <a:cs typeface="Arial"/>
              </a:defRPr>
            </a:lvl1pPr>
            <a:lvl2pPr>
              <a:defRPr>
                <a:latin typeface="+mn-lt"/>
                <a:cs typeface="Arial"/>
              </a:defRPr>
            </a:lvl2pPr>
            <a:lvl3pPr>
              <a:defRPr>
                <a:latin typeface="+mn-lt"/>
                <a:cs typeface="Arial"/>
              </a:defRPr>
            </a:lvl3pPr>
            <a:lvl4pPr>
              <a:defRPr>
                <a:latin typeface="+mn-lt"/>
                <a:cs typeface="Arial"/>
              </a:defRPr>
            </a:lvl4pPr>
            <a:lvl5pPr>
              <a:defRPr>
                <a:latin typeface="+mn-lt"/>
                <a:cs typeface="Arial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33F2540-8A5B-FC47-AEF7-359F38E5A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029D87-B6E4-6B4E-9ED9-EA265B6F70ED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E051E11A-7BA1-6545-9B3B-A8489AEBE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AEDAFB30-54B7-0042-8426-10DF3C3527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13FAD0-7E31-A240-B9CD-29B320DC2F6D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22477144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319654111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46138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48420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187354056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4F4FF-7F51-4463-87A9-CE523B1F90BB}"/>
              </a:ext>
            </a:extLst>
          </p:cNvPr>
          <p:cNvSpPr txBox="1">
            <a:spLocks/>
          </p:cNvSpPr>
          <p:nvPr userDrawn="1"/>
        </p:nvSpPr>
        <p:spPr>
          <a:xfrm>
            <a:off x="398680" y="6375161"/>
            <a:ext cx="954207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STRICTLY PRIVATE </a:t>
            </a:r>
            <a:br>
              <a:rPr lang="en-GB" sz="600" b="0" i="0" spc="0" baseline="0">
                <a:solidFill>
                  <a:schemeClr val="bg1"/>
                </a:solidFill>
                <a:latin typeface="+mn-lt"/>
              </a:rPr>
            </a:br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AND CONFIDENTIAL</a:t>
            </a:r>
          </a:p>
        </p:txBody>
      </p:sp>
      <p:pic>
        <p:nvPicPr>
          <p:cNvPr id="28" name="Picture 27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1F445C1F-7844-488F-A471-4F655E7365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1355" y="5964318"/>
            <a:ext cx="1068854" cy="387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68427780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5" y="726018"/>
            <a:ext cx="9146338" cy="119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0" y="1889225"/>
            <a:ext cx="9145108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449263" indent="-225425">
              <a:buClr>
                <a:schemeClr val="accent3"/>
              </a:buClr>
              <a:buFont typeface="+mj-lt"/>
              <a:buAutoNum type="alphaLcParenR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9145108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844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1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690084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9645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24423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9467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937" y="1"/>
            <a:ext cx="10305803" cy="1139825"/>
          </a:xfrm>
        </p:spPr>
        <p:txBody>
          <a:bodyPr/>
          <a:lstStyle/>
          <a:p>
            <a:r>
              <a:rPr lang="sv-SE" err="1"/>
              <a:t>Click</a:t>
            </a:r>
            <a:r>
              <a:rPr lang="sv-SE"/>
              <a:t> </a:t>
            </a:r>
            <a:r>
              <a:rPr lang="sv-SE" err="1"/>
              <a:t>to</a:t>
            </a:r>
            <a:r>
              <a:rPr lang="sv-SE"/>
              <a:t> </a:t>
            </a:r>
            <a:r>
              <a:rPr lang="sv-SE" err="1"/>
              <a:t>edit</a:t>
            </a:r>
            <a:r>
              <a:rPr lang="sv-SE"/>
              <a:t> Master </a:t>
            </a:r>
            <a:r>
              <a:rPr lang="sv-SE" err="1"/>
              <a:t>title</a:t>
            </a:r>
            <a:r>
              <a:rPr lang="sv-SE"/>
              <a:t>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Full </a:t>
            </a:r>
            <a:r>
              <a:rPr lang="sv-SE" err="1"/>
              <a:t>steam</a:t>
            </a:r>
            <a:r>
              <a:rPr lang="sv-SE"/>
              <a:t> </a:t>
            </a:r>
            <a:r>
              <a:rPr lang="sv-SE" err="1"/>
              <a:t>ahead</a:t>
            </a:r>
            <a:r>
              <a:rPr lang="sv-SE"/>
              <a:t> - just a </a:t>
            </a:r>
            <a:r>
              <a:rPr lang="sv-SE" err="1"/>
              <a:t>dream</a:t>
            </a:r>
            <a:r>
              <a:rPr lang="sv-SE"/>
              <a:t>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Nordic Outlook</a:t>
            </a:r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F809B13A-3730-413D-9F0B-C01FC49F235B}" type="slidenum">
              <a:rPr lang="sv-SE" smtClean="0"/>
              <a:pPr algn="r"/>
              <a:t>‹#›</a:t>
            </a:fld>
            <a:endParaRPr lang="sv-S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69938" y="1520824"/>
            <a:ext cx="8778429" cy="4579939"/>
          </a:xfrm>
        </p:spPr>
        <p:txBody>
          <a:bodyPr/>
          <a:lstStyle/>
          <a:p>
            <a:pPr lvl="0"/>
            <a:r>
              <a:rPr lang="sv-SE" err="1"/>
              <a:t>Click</a:t>
            </a:r>
            <a:r>
              <a:rPr lang="sv-SE"/>
              <a:t> </a:t>
            </a:r>
            <a:r>
              <a:rPr lang="sv-SE" err="1"/>
              <a:t>to</a:t>
            </a:r>
            <a:r>
              <a:rPr lang="sv-SE"/>
              <a:t> </a:t>
            </a:r>
            <a:r>
              <a:rPr lang="sv-SE" err="1"/>
              <a:t>edit</a:t>
            </a:r>
            <a:r>
              <a:rPr lang="sv-SE"/>
              <a:t> Master text </a:t>
            </a:r>
            <a:r>
              <a:rPr lang="sv-SE" err="1"/>
              <a:t>styles</a:t>
            </a:r>
            <a:endParaRPr lang="sv-SE"/>
          </a:p>
          <a:p>
            <a:pPr lvl="1"/>
            <a:r>
              <a:rPr lang="sv-SE"/>
              <a:t>Second </a:t>
            </a:r>
            <a:r>
              <a:rPr lang="sv-SE" err="1"/>
              <a:t>level</a:t>
            </a:r>
            <a:endParaRPr lang="sv-SE"/>
          </a:p>
          <a:p>
            <a:pPr lvl="2"/>
            <a:r>
              <a:rPr lang="sv-SE" err="1"/>
              <a:t>Third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3"/>
            <a:r>
              <a:rPr lang="sv-SE" err="1"/>
              <a:t>Four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4"/>
            <a:r>
              <a:rPr lang="sv-SE" err="1"/>
              <a:t>Fif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7350337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560126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200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138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6724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4319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51938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7000">
                <a:schemeClr val="accent3">
                  <a:lumMod val="20000"/>
                  <a:lumOff val="80000"/>
                  <a:alpha val="0"/>
                </a:schemeClr>
              </a:gs>
              <a:gs pos="100000">
                <a:schemeClr val="accent2"/>
              </a:gs>
              <a:gs pos="97000">
                <a:schemeClr val="accent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sz="12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9EF9439-E24F-4889-8243-89125662988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7029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994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02484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9954794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764208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14400" y="2131485"/>
            <a:ext cx="10363200" cy="1468967"/>
          </a:xfrm>
        </p:spPr>
        <p:txBody>
          <a:bodyPr>
            <a:normAutofit/>
          </a:bodyPr>
          <a:lstStyle>
            <a:lvl1pPr algn="ctr">
              <a:defRPr sz="5333" b="1" i="0"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+mj-lt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8AA97B2-A16E-4D32-979A-A702FD4F93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3F6259-C207-4474-A49A-DEDCDEA48F47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9D69BAF-FD12-4AB9-A71D-F3794EBC17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A6837DB7-C30A-437E-BE0C-252017338B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D711AC-6DEA-479C-9E19-CE2ADB4BA05B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61413682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886288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118397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308352211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4F4FF-7F51-4463-87A9-CE523B1F90BB}"/>
              </a:ext>
            </a:extLst>
          </p:cNvPr>
          <p:cNvSpPr txBox="1">
            <a:spLocks/>
          </p:cNvSpPr>
          <p:nvPr userDrawn="1"/>
        </p:nvSpPr>
        <p:spPr>
          <a:xfrm>
            <a:off x="398680" y="6375161"/>
            <a:ext cx="954207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STRICTLY PRIVATE </a:t>
            </a:r>
            <a:br>
              <a:rPr lang="en-GB" sz="600" b="0" i="0" spc="0" baseline="0">
                <a:solidFill>
                  <a:schemeClr val="bg1"/>
                </a:solidFill>
                <a:latin typeface="+mn-lt"/>
              </a:rPr>
            </a:br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AND CONFIDENTIAL</a:t>
            </a:r>
          </a:p>
        </p:txBody>
      </p:sp>
      <p:pic>
        <p:nvPicPr>
          <p:cNvPr id="28" name="Picture 27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1F445C1F-7844-488F-A471-4F655E7365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1355" y="5964318"/>
            <a:ext cx="1068854" cy="387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48367814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5" y="726018"/>
            <a:ext cx="9146338" cy="119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0" y="1889225"/>
            <a:ext cx="9145108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449263" indent="-225425">
              <a:buClr>
                <a:schemeClr val="accent3"/>
              </a:buClr>
              <a:buFont typeface="+mj-lt"/>
              <a:buAutoNum type="alphaLcParenR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9145108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7374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1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67837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61150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74538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5526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0889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  <a:cs typeface="Arial"/>
              </a:defRPr>
            </a:lvl1pPr>
            <a:lvl2pPr>
              <a:defRPr>
                <a:latin typeface="+mn-lt"/>
                <a:cs typeface="Arial"/>
              </a:defRPr>
            </a:lvl2pPr>
            <a:lvl3pPr>
              <a:defRPr>
                <a:latin typeface="+mn-lt"/>
                <a:cs typeface="Arial"/>
              </a:defRPr>
            </a:lvl3pPr>
            <a:lvl4pPr>
              <a:defRPr>
                <a:latin typeface="+mn-lt"/>
                <a:cs typeface="Arial"/>
              </a:defRPr>
            </a:lvl4pPr>
            <a:lvl5pPr>
              <a:defRPr>
                <a:latin typeface="+mn-lt"/>
                <a:cs typeface="Arial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75BB09F-E175-4DB0-AE02-580C1510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251803-850E-48CC-9DD5-3ADBC0B0E3E3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8027AE0-4E92-4751-B8C1-8948D08E7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88023BF-1FEE-4728-BA16-C97EE2A9A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08E12C-5E98-44E3-A9B3-4FE534CE21D6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03543815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9301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5295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3414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855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319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7000">
                <a:schemeClr val="accent3">
                  <a:lumMod val="20000"/>
                  <a:lumOff val="80000"/>
                  <a:alpha val="0"/>
                </a:schemeClr>
              </a:gs>
              <a:gs pos="100000">
                <a:schemeClr val="accent2"/>
              </a:gs>
              <a:gs pos="97000">
                <a:schemeClr val="accent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sz="12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9EF9439-E24F-4889-8243-89125662988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7029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9141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016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9615537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377679391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76061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>
            <a:noAutofit/>
          </a:bodyPr>
          <a:lstStyle>
            <a:lvl1pPr algn="l">
              <a:defRPr sz="3733" b="1" i="0" cap="all"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  <a:latin typeface="+mj-lt"/>
                <a:cs typeface="Arial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62B6844-4000-48C6-86F1-2F7D0C1E09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A5B034-11E0-4EF1-BE94-3239EA6C0768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95FADD8-445B-40D8-8601-A307C3C55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110FF347-E706-406A-A59B-CE487C6AE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0DD43C-367A-4A60-A382-51D157BA9522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64607161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004831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319767989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4F4FF-7F51-4463-87A9-CE523B1F90BB}"/>
              </a:ext>
            </a:extLst>
          </p:cNvPr>
          <p:cNvSpPr txBox="1">
            <a:spLocks/>
          </p:cNvSpPr>
          <p:nvPr userDrawn="1"/>
        </p:nvSpPr>
        <p:spPr>
          <a:xfrm>
            <a:off x="398680" y="6375161"/>
            <a:ext cx="954207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STRICTLY PRIVATE </a:t>
            </a:r>
            <a:br>
              <a:rPr lang="en-GB" sz="600" b="0" i="0" spc="0" baseline="0">
                <a:solidFill>
                  <a:schemeClr val="bg1"/>
                </a:solidFill>
                <a:latin typeface="+mn-lt"/>
              </a:rPr>
            </a:br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AND CONFIDENTIAL</a:t>
            </a:r>
          </a:p>
        </p:txBody>
      </p:sp>
      <p:pic>
        <p:nvPicPr>
          <p:cNvPr id="28" name="Picture 27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1F445C1F-7844-488F-A471-4F655E7365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1355" y="5964318"/>
            <a:ext cx="1068854" cy="387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15073799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5" y="726018"/>
            <a:ext cx="9146338" cy="119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0" y="1889225"/>
            <a:ext cx="9145108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449263" indent="-225425">
              <a:buClr>
                <a:schemeClr val="accent3"/>
              </a:buClr>
              <a:buFont typeface="+mj-lt"/>
              <a:buAutoNum type="alphaLcParenR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9145108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554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1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915922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71702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01039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8464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45288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8344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421088"/>
          </a:xfrm>
        </p:spPr>
        <p:txBody>
          <a:bodyPr/>
          <a:lstStyle>
            <a:lvl1pPr>
              <a:defRPr sz="3733">
                <a:latin typeface="+mn-lt"/>
                <a:cs typeface="Arial"/>
              </a:defRPr>
            </a:lvl1pPr>
            <a:lvl2pPr>
              <a:defRPr sz="3200">
                <a:latin typeface="+mn-lt"/>
                <a:cs typeface="Arial"/>
              </a:defRPr>
            </a:lvl2pPr>
            <a:lvl3pPr>
              <a:defRPr sz="2667">
                <a:latin typeface="+mn-lt"/>
                <a:cs typeface="Arial"/>
              </a:defRPr>
            </a:lvl3pPr>
            <a:lvl4pPr>
              <a:defRPr sz="2400">
                <a:latin typeface="+mn-lt"/>
                <a:cs typeface="Arial"/>
              </a:defRPr>
            </a:lvl4pPr>
            <a:lvl5pPr>
              <a:defRPr sz="2400">
                <a:latin typeface="+mn-lt"/>
                <a:cs typeface="Arial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421088"/>
          </a:xfrm>
        </p:spPr>
        <p:txBody>
          <a:bodyPr/>
          <a:lstStyle>
            <a:lvl1pPr>
              <a:defRPr sz="3733">
                <a:latin typeface="+mn-lt"/>
                <a:cs typeface="Arial"/>
              </a:defRPr>
            </a:lvl1pPr>
            <a:lvl2pPr>
              <a:defRPr sz="3200">
                <a:latin typeface="+mn-lt"/>
                <a:cs typeface="Arial"/>
              </a:defRPr>
            </a:lvl2pPr>
            <a:lvl3pPr>
              <a:defRPr sz="2667">
                <a:latin typeface="+mn-lt"/>
                <a:cs typeface="Arial"/>
              </a:defRPr>
            </a:lvl3pPr>
            <a:lvl4pPr>
              <a:defRPr sz="2400">
                <a:latin typeface="+mn-lt"/>
                <a:cs typeface="Arial"/>
              </a:defRPr>
            </a:lvl4pPr>
            <a:lvl5pPr>
              <a:defRPr sz="2400">
                <a:latin typeface="+mn-lt"/>
                <a:cs typeface="Arial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1E01D8BB-E9F2-4AEF-9D7C-DA17476E49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AA76A0-0320-4191-957F-698E956269C8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6E2771E0-B21F-4826-A4B2-CB5137A255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88D7C14B-A2FA-43F4-B4F9-32F2B7D97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E6546D-A3C9-4C7C-8C8A-C56604405133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86743751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6987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2768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9991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84924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7000">
                <a:schemeClr val="accent3">
                  <a:lumMod val="20000"/>
                  <a:lumOff val="80000"/>
                  <a:alpha val="0"/>
                </a:schemeClr>
              </a:gs>
              <a:gs pos="100000">
                <a:schemeClr val="accent2"/>
              </a:gs>
              <a:gs pos="97000">
                <a:schemeClr val="accent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sz="12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9EF9439-E24F-4889-8243-89125662988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7029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0003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98933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898785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147759233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277949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18276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534584"/>
            <a:ext cx="5386917" cy="641349"/>
          </a:xfrm>
        </p:spPr>
        <p:txBody>
          <a:bodyPr anchor="b">
            <a:noAutofit/>
          </a:bodyPr>
          <a:lstStyle>
            <a:lvl1pPr marL="0" indent="0">
              <a:buNone/>
              <a:defRPr sz="1867" b="1" i="0">
                <a:latin typeface="+mj-lt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600" y="2175935"/>
            <a:ext cx="5386917" cy="3845355"/>
          </a:xfrm>
        </p:spPr>
        <p:txBody>
          <a:bodyPr/>
          <a:lstStyle>
            <a:lvl1pPr>
              <a:defRPr sz="3200">
                <a:latin typeface="+mn-lt"/>
                <a:cs typeface="Arial"/>
              </a:defRPr>
            </a:lvl1pPr>
            <a:lvl2pPr>
              <a:defRPr sz="2667">
                <a:latin typeface="+mn-lt"/>
                <a:cs typeface="Arial"/>
              </a:defRPr>
            </a:lvl2pPr>
            <a:lvl3pPr>
              <a:defRPr sz="2400">
                <a:latin typeface="+mn-lt"/>
                <a:cs typeface="Arial"/>
              </a:defRPr>
            </a:lvl3pPr>
            <a:lvl4pPr>
              <a:defRPr sz="2133">
                <a:latin typeface="+mn-lt"/>
                <a:cs typeface="Arial"/>
              </a:defRPr>
            </a:lvl4pPr>
            <a:lvl5pPr>
              <a:defRPr sz="2133">
                <a:latin typeface="+mn-lt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93368" y="1534584"/>
            <a:ext cx="5389033" cy="641349"/>
          </a:xfrm>
        </p:spPr>
        <p:txBody>
          <a:bodyPr anchor="b">
            <a:noAutofit/>
          </a:bodyPr>
          <a:lstStyle>
            <a:lvl1pPr marL="0" indent="0">
              <a:buNone/>
              <a:defRPr sz="1867" b="1" i="0">
                <a:latin typeface="+mj-lt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93368" y="2175935"/>
            <a:ext cx="5389033" cy="3845355"/>
          </a:xfrm>
        </p:spPr>
        <p:txBody>
          <a:bodyPr/>
          <a:lstStyle>
            <a:lvl1pPr>
              <a:defRPr sz="3200">
                <a:latin typeface="+mn-lt"/>
                <a:cs typeface="Arial"/>
              </a:defRPr>
            </a:lvl1pPr>
            <a:lvl2pPr>
              <a:defRPr sz="2667">
                <a:latin typeface="+mn-lt"/>
                <a:cs typeface="Arial"/>
              </a:defRPr>
            </a:lvl2pPr>
            <a:lvl3pPr>
              <a:defRPr sz="2400">
                <a:latin typeface="+mn-lt"/>
                <a:cs typeface="Arial"/>
              </a:defRPr>
            </a:lvl3pPr>
            <a:lvl4pPr>
              <a:defRPr sz="2133">
                <a:latin typeface="+mn-lt"/>
                <a:cs typeface="Arial"/>
              </a:defRPr>
            </a:lvl4pPr>
            <a:lvl5pPr>
              <a:defRPr sz="2133">
                <a:latin typeface="+mn-lt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EBD6E926-52BE-4643-AB47-19A753CEC9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285A25-8D29-406C-82AD-7852400FF860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FE486048-7E7B-4E4C-9219-13C12485A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6AE6541D-EF5B-4ED8-88CC-534F779A2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D7E644-AF34-4435-8D8B-7E8778C39C20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318175204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64639468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4F4FF-7F51-4463-87A9-CE523B1F90BB}"/>
              </a:ext>
            </a:extLst>
          </p:cNvPr>
          <p:cNvSpPr txBox="1">
            <a:spLocks/>
          </p:cNvSpPr>
          <p:nvPr userDrawn="1"/>
        </p:nvSpPr>
        <p:spPr>
          <a:xfrm>
            <a:off x="398680" y="6375161"/>
            <a:ext cx="954207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STRICTLY PRIVATE </a:t>
            </a:r>
            <a:br>
              <a:rPr lang="en-GB" sz="600" b="0" i="0" spc="0" baseline="0">
                <a:solidFill>
                  <a:schemeClr val="bg1"/>
                </a:solidFill>
                <a:latin typeface="+mn-lt"/>
              </a:rPr>
            </a:br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AND CONFIDENTIAL</a:t>
            </a:r>
          </a:p>
        </p:txBody>
      </p:sp>
      <p:pic>
        <p:nvPicPr>
          <p:cNvPr id="28" name="Picture 27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1F445C1F-7844-488F-A471-4F655E7365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1355" y="5964318"/>
            <a:ext cx="1068854" cy="387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16760309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5" y="726018"/>
            <a:ext cx="9146338" cy="119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0" y="1889225"/>
            <a:ext cx="9145108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449263" indent="-225425">
              <a:buClr>
                <a:schemeClr val="accent3"/>
              </a:buClr>
              <a:buFont typeface="+mj-lt"/>
              <a:buAutoNum type="alphaLcParenR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9145108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357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1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57485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1556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4495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211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807389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454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7253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BBE9929F-3DFC-45DB-827D-AB523BBA48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54ECE9-9087-4934-ACB2-8261A72368CA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4" name="Platshållare för sidfot 4">
            <a:extLst>
              <a:ext uri="{FF2B5EF4-FFF2-40B4-BE49-F238E27FC236}">
                <a16:creationId xmlns:a16="http://schemas.microsoft.com/office/drawing/2014/main" id="{98DE4E83-DA0A-4600-BBB7-6AEB7C005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Platshållare för bildnummer 5">
            <a:extLst>
              <a:ext uri="{FF2B5EF4-FFF2-40B4-BE49-F238E27FC236}">
                <a16:creationId xmlns:a16="http://schemas.microsoft.com/office/drawing/2014/main" id="{3913FC5F-A589-4329-BCB2-CE6AE9E5AA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E557B9-EA26-4990-80A2-0906F2C5DBF2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84123255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854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829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66513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7000">
                <a:schemeClr val="accent3">
                  <a:lumMod val="20000"/>
                  <a:lumOff val="80000"/>
                  <a:alpha val="0"/>
                </a:schemeClr>
              </a:gs>
              <a:gs pos="100000">
                <a:schemeClr val="accent2"/>
              </a:gs>
              <a:gs pos="97000">
                <a:schemeClr val="accent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sz="12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9EF9439-E24F-4889-8243-89125662988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7029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0669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22263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7633050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413476973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379929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900570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13328090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B0B59A95-7A4B-4A46-AF26-1460B664D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BF35B8-797D-4DC6-9851-73898E5178C9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3" name="Platshållare för sidfot 4">
            <a:extLst>
              <a:ext uri="{FF2B5EF4-FFF2-40B4-BE49-F238E27FC236}">
                <a16:creationId xmlns:a16="http://schemas.microsoft.com/office/drawing/2014/main" id="{D5C8A9F0-2005-4D4B-A460-55176F9A4E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Platshållare för bildnummer 5">
            <a:extLst>
              <a:ext uri="{FF2B5EF4-FFF2-40B4-BE49-F238E27FC236}">
                <a16:creationId xmlns:a16="http://schemas.microsoft.com/office/drawing/2014/main" id="{E432882F-251B-4CA5-A293-CA46BDDD7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8B4D67-6027-4F36-AA57-AFAC8683DBA0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77265746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4F4FF-7F51-4463-87A9-CE523B1F90BB}"/>
              </a:ext>
            </a:extLst>
          </p:cNvPr>
          <p:cNvSpPr txBox="1">
            <a:spLocks/>
          </p:cNvSpPr>
          <p:nvPr userDrawn="1"/>
        </p:nvSpPr>
        <p:spPr>
          <a:xfrm>
            <a:off x="398680" y="6375161"/>
            <a:ext cx="954207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STRICTLY PRIVATE </a:t>
            </a:r>
            <a:br>
              <a:rPr lang="en-GB" sz="600" b="0" i="0" spc="0" baseline="0">
                <a:solidFill>
                  <a:schemeClr val="bg1"/>
                </a:solidFill>
                <a:latin typeface="+mn-lt"/>
              </a:rPr>
            </a:br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AND CONFIDENTIAL</a:t>
            </a:r>
          </a:p>
        </p:txBody>
      </p:sp>
      <p:pic>
        <p:nvPicPr>
          <p:cNvPr id="28" name="Picture 27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1F445C1F-7844-488F-A471-4F655E7365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1355" y="5964318"/>
            <a:ext cx="1068854" cy="387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87370304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5" y="726018"/>
            <a:ext cx="9146338" cy="119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0" y="1889225"/>
            <a:ext cx="9145108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449263" indent="-225425">
              <a:buClr>
                <a:schemeClr val="accent3"/>
              </a:buClr>
              <a:buFont typeface="+mj-lt"/>
              <a:buAutoNum type="alphaLcParenR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9145108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45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1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46844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01983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79825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5658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490053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834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9634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9852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  <a:cs typeface="Arial"/>
              </a:defRPr>
            </a:lvl1pPr>
            <a:lvl2pPr>
              <a:defRPr>
                <a:latin typeface="+mn-lt"/>
                <a:cs typeface="Arial"/>
              </a:defRPr>
            </a:lvl2pPr>
            <a:lvl3pPr>
              <a:defRPr>
                <a:latin typeface="+mn-lt"/>
                <a:cs typeface="Arial"/>
              </a:defRPr>
            </a:lvl3pPr>
            <a:lvl4pPr>
              <a:defRPr>
                <a:latin typeface="+mn-lt"/>
                <a:cs typeface="Arial"/>
              </a:defRPr>
            </a:lvl4pPr>
            <a:lvl5pPr>
              <a:defRPr>
                <a:latin typeface="+mn-lt"/>
                <a:cs typeface="Arial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CB65A2A-2D65-2449-8B2B-92C9E3869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EF37AE-EFE2-1B41-94EA-7764C0E29D09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26C9195-957A-DE4F-9E96-B511971F7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6815F99-061A-264C-A5EC-403048D79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68D89D-F7AB-6445-B15C-5A2C7BB1DB3A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40078029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1" y="273052"/>
            <a:ext cx="4011084" cy="1162049"/>
          </a:xfrm>
        </p:spPr>
        <p:txBody>
          <a:bodyPr anchor="b"/>
          <a:lstStyle>
            <a:lvl1pPr algn="l">
              <a:defRPr sz="2667" b="1"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748237"/>
          </a:xfrm>
        </p:spPr>
        <p:txBody>
          <a:bodyPr/>
          <a:lstStyle>
            <a:lvl1pPr>
              <a:defRPr sz="4267">
                <a:latin typeface="+mn-lt"/>
                <a:cs typeface="Arial"/>
              </a:defRPr>
            </a:lvl1pPr>
            <a:lvl2pPr>
              <a:defRPr sz="3733">
                <a:latin typeface="+mn-lt"/>
                <a:cs typeface="Arial"/>
              </a:defRPr>
            </a:lvl2pPr>
            <a:lvl3pPr>
              <a:defRPr sz="3200">
                <a:latin typeface="+mn-lt"/>
                <a:cs typeface="Arial"/>
              </a:defRPr>
            </a:lvl3pPr>
            <a:lvl4pPr>
              <a:defRPr sz="2667">
                <a:latin typeface="+mn-lt"/>
                <a:cs typeface="Arial"/>
              </a:defRPr>
            </a:lvl4pPr>
            <a:lvl5pPr>
              <a:defRPr sz="2667">
                <a:latin typeface="+mn-lt"/>
                <a:cs typeface="Arial"/>
              </a:defRPr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06907"/>
          </a:xfrm>
        </p:spPr>
        <p:txBody>
          <a:bodyPr/>
          <a:lstStyle>
            <a:lvl1pPr marL="0" indent="0">
              <a:buNone/>
              <a:defRPr sz="1867">
                <a:latin typeface="+mj-lt"/>
                <a:cs typeface="Arial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C676B1A2-989D-42A8-A687-BBEBDF7AB9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165C0-4BA6-4CB8-A3E7-6971785DCF78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6848294F-F663-4413-99AB-6552AF9D6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5061DC2E-D671-4177-8F17-293DD62F7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22EF30-A7D1-493F-B17B-B588DE515D4E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32633308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1096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5855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7000">
                <a:schemeClr val="accent3">
                  <a:lumMod val="20000"/>
                  <a:lumOff val="80000"/>
                  <a:alpha val="0"/>
                </a:schemeClr>
              </a:gs>
              <a:gs pos="100000">
                <a:schemeClr val="accent2"/>
              </a:gs>
              <a:gs pos="97000">
                <a:schemeClr val="accent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sz="12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9EF9439-E24F-4889-8243-89125662988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7029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4470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06628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335693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18343442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986494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68532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315028973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4F4FF-7F51-4463-87A9-CE523B1F90BB}"/>
              </a:ext>
            </a:extLst>
          </p:cNvPr>
          <p:cNvSpPr txBox="1">
            <a:spLocks/>
          </p:cNvSpPr>
          <p:nvPr userDrawn="1"/>
        </p:nvSpPr>
        <p:spPr>
          <a:xfrm>
            <a:off x="398680" y="6375161"/>
            <a:ext cx="954207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STRICTLY PRIVATE </a:t>
            </a:r>
            <a:br>
              <a:rPr lang="en-GB" sz="600" b="0" i="0" spc="0" baseline="0">
                <a:solidFill>
                  <a:schemeClr val="bg1"/>
                </a:solidFill>
                <a:latin typeface="+mn-lt"/>
              </a:rPr>
            </a:br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AND CONFIDENTIAL</a:t>
            </a:r>
          </a:p>
        </p:txBody>
      </p:sp>
      <p:pic>
        <p:nvPicPr>
          <p:cNvPr id="28" name="Picture 27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1F445C1F-7844-488F-A471-4F655E7365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1355" y="5964318"/>
            <a:ext cx="1068854" cy="387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3288146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7267"/>
          </a:xfrm>
        </p:spPr>
        <p:txBody>
          <a:bodyPr anchor="b"/>
          <a:lstStyle>
            <a:lvl1pPr algn="l">
              <a:defRPr sz="2667" b="1"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4267">
                <a:latin typeface="+mn-lt"/>
                <a:cs typeface="Arial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r>
              <a:rPr lang="sv-SE" noProof="0"/>
              <a:t>Dra bilden till platshållaren eller klicka på ikonen för att lägga till den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389717" y="5367867"/>
            <a:ext cx="7315200" cy="804333"/>
          </a:xfrm>
        </p:spPr>
        <p:txBody>
          <a:bodyPr/>
          <a:lstStyle>
            <a:lvl1pPr marL="0" indent="0">
              <a:buNone/>
              <a:defRPr sz="1867">
                <a:latin typeface="+mj-lt"/>
                <a:cs typeface="Arial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3CF39F65-5311-4556-8FF3-5EDCD96DD2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3510A3-9B19-4C80-9CF0-4B471956945A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9C27268A-C1E5-4FCC-A9F4-D4EA27D9AF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A952BF6-22FE-4124-85E8-68BD25C09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5C2B4F-A5CA-4EF5-9B6B-3475E857928F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31192568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5" y="726018"/>
            <a:ext cx="9146338" cy="119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0" y="1889225"/>
            <a:ext cx="9145108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449263" indent="-225425">
              <a:buClr>
                <a:schemeClr val="accent3"/>
              </a:buClr>
              <a:buFont typeface="+mj-lt"/>
              <a:buAutoNum type="alphaLcParenR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9145108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2644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1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12015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43492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61911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8947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111900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7669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002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6403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959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+mn-lt"/>
                <a:cs typeface="Arial"/>
              </a:defRPr>
            </a:lvl1pPr>
            <a:lvl2pPr>
              <a:defRPr>
                <a:latin typeface="+mn-lt"/>
                <a:cs typeface="Arial"/>
              </a:defRPr>
            </a:lvl2pPr>
            <a:lvl3pPr>
              <a:defRPr>
                <a:latin typeface="+mn-lt"/>
                <a:cs typeface="Arial"/>
              </a:defRPr>
            </a:lvl3pPr>
            <a:lvl4pPr>
              <a:defRPr>
                <a:latin typeface="+mn-lt"/>
                <a:cs typeface="Arial"/>
              </a:defRPr>
            </a:lvl4pPr>
            <a:lvl5pPr>
              <a:defRPr>
                <a:latin typeface="+mn-lt"/>
                <a:cs typeface="Arial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B437529-A6DE-4E53-A60F-A490495193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7D1E2-55C7-4C25-B8F2-F33EC1170285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2A01CF9-A069-4A59-866F-3829E34EB7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C2725ED-07B9-4E2F-B405-62C2244C8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BDE2D0-6A7C-423A-9623-993AC886943D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100114350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15955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7000">
                <a:schemeClr val="accent3">
                  <a:lumMod val="20000"/>
                  <a:lumOff val="80000"/>
                  <a:alpha val="0"/>
                </a:schemeClr>
              </a:gs>
              <a:gs pos="100000">
                <a:schemeClr val="accent2"/>
              </a:gs>
              <a:gs pos="97000">
                <a:schemeClr val="accent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sz="12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9EF9439-E24F-4889-8243-89125662988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7029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287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3927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1778364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47744416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390199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28306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87182624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4F4FF-7F51-4463-87A9-CE523B1F90BB}"/>
              </a:ext>
            </a:extLst>
          </p:cNvPr>
          <p:cNvSpPr txBox="1">
            <a:spLocks/>
          </p:cNvSpPr>
          <p:nvPr userDrawn="1"/>
        </p:nvSpPr>
        <p:spPr>
          <a:xfrm>
            <a:off x="398680" y="6375161"/>
            <a:ext cx="954207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STRICTLY PRIVATE </a:t>
            </a:r>
            <a:br>
              <a:rPr lang="en-GB" sz="600" b="0" i="0" spc="0" baseline="0">
                <a:solidFill>
                  <a:schemeClr val="bg1"/>
                </a:solidFill>
                <a:latin typeface="+mn-lt"/>
              </a:rPr>
            </a:br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AND CONFIDENTIAL</a:t>
            </a:r>
          </a:p>
        </p:txBody>
      </p:sp>
      <p:pic>
        <p:nvPicPr>
          <p:cNvPr id="28" name="Picture 27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1F445C1F-7844-488F-A471-4F655E7365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1355" y="5964318"/>
            <a:ext cx="1068854" cy="387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91003651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5" y="726018"/>
            <a:ext cx="9146338" cy="119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0" y="1889225"/>
            <a:ext cx="9145108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449263" indent="-225425">
              <a:buClr>
                <a:schemeClr val="accent3"/>
              </a:buClr>
              <a:buFont typeface="+mj-lt"/>
              <a:buAutoNum type="alphaLcParenR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9145108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4655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839200" y="275168"/>
            <a:ext cx="2743200" cy="5746121"/>
          </a:xfrm>
        </p:spPr>
        <p:txBody>
          <a:bodyPr vert="eaVert"/>
          <a:lstStyle>
            <a:lvl1pPr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609600" y="275168"/>
            <a:ext cx="8026400" cy="5746121"/>
          </a:xfrm>
        </p:spPr>
        <p:txBody>
          <a:bodyPr vert="eaVert"/>
          <a:lstStyle>
            <a:lvl1pPr>
              <a:defRPr>
                <a:latin typeface="+mn-lt"/>
                <a:cs typeface="Arial"/>
              </a:defRPr>
            </a:lvl1pPr>
            <a:lvl2pPr>
              <a:defRPr>
                <a:latin typeface="+mn-lt"/>
                <a:cs typeface="Arial"/>
              </a:defRPr>
            </a:lvl2pPr>
            <a:lvl3pPr>
              <a:defRPr>
                <a:latin typeface="+mn-lt"/>
                <a:cs typeface="Arial"/>
              </a:defRPr>
            </a:lvl3pPr>
            <a:lvl4pPr>
              <a:defRPr>
                <a:latin typeface="+mn-lt"/>
                <a:cs typeface="Arial"/>
              </a:defRPr>
            </a:lvl4pPr>
            <a:lvl5pPr>
              <a:defRPr>
                <a:latin typeface="+mn-lt"/>
                <a:cs typeface="Arial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8FB5B50-88E3-4E9A-918F-DE792E079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0E141E-2671-451F-9C69-66C91E5FBEBE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EC4E2B5-3923-4A9B-9E6D-72B5A1DB4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F7167BF-54AF-4631-9D47-9F12CDD71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4EB190-BADA-4E50-8FD4-F3A58A105132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41275168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1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0869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8318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3134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780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579215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8188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5765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5995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6177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6907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937" y="1"/>
            <a:ext cx="10305803" cy="1139825"/>
          </a:xfrm>
        </p:spPr>
        <p:txBody>
          <a:bodyPr/>
          <a:lstStyle/>
          <a:p>
            <a:r>
              <a:rPr lang="sv-SE" err="1"/>
              <a:t>Click</a:t>
            </a:r>
            <a:r>
              <a:rPr lang="sv-SE"/>
              <a:t> </a:t>
            </a:r>
            <a:r>
              <a:rPr lang="sv-SE" err="1"/>
              <a:t>to</a:t>
            </a:r>
            <a:r>
              <a:rPr lang="sv-SE"/>
              <a:t> </a:t>
            </a:r>
            <a:r>
              <a:rPr lang="sv-SE" err="1"/>
              <a:t>edit</a:t>
            </a:r>
            <a:r>
              <a:rPr lang="sv-SE"/>
              <a:t> Master </a:t>
            </a:r>
            <a:r>
              <a:rPr lang="sv-SE" err="1"/>
              <a:t>title</a:t>
            </a:r>
            <a:r>
              <a:rPr lang="sv-SE"/>
              <a:t>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69938" y="1520824"/>
            <a:ext cx="8778429" cy="4579939"/>
          </a:xfrm>
        </p:spPr>
        <p:txBody>
          <a:bodyPr/>
          <a:lstStyle/>
          <a:p>
            <a:pPr lvl="0"/>
            <a:r>
              <a:rPr lang="sv-SE" err="1"/>
              <a:t>Click</a:t>
            </a:r>
            <a:r>
              <a:rPr lang="sv-SE"/>
              <a:t> </a:t>
            </a:r>
            <a:r>
              <a:rPr lang="sv-SE" err="1"/>
              <a:t>to</a:t>
            </a:r>
            <a:r>
              <a:rPr lang="sv-SE"/>
              <a:t> </a:t>
            </a:r>
            <a:r>
              <a:rPr lang="sv-SE" err="1"/>
              <a:t>edit</a:t>
            </a:r>
            <a:r>
              <a:rPr lang="sv-SE"/>
              <a:t> Master text </a:t>
            </a:r>
            <a:r>
              <a:rPr lang="sv-SE" err="1"/>
              <a:t>styles</a:t>
            </a:r>
            <a:endParaRPr lang="sv-SE"/>
          </a:p>
          <a:p>
            <a:pPr lvl="1"/>
            <a:r>
              <a:rPr lang="sv-SE"/>
              <a:t>Second </a:t>
            </a:r>
            <a:r>
              <a:rPr lang="sv-SE" err="1"/>
              <a:t>level</a:t>
            </a:r>
            <a:endParaRPr lang="sv-SE"/>
          </a:p>
          <a:p>
            <a:pPr lvl="2"/>
            <a:r>
              <a:rPr lang="sv-SE" err="1"/>
              <a:t>Third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3"/>
            <a:r>
              <a:rPr lang="sv-SE" err="1"/>
              <a:t>Four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4"/>
            <a:r>
              <a:rPr lang="sv-SE" err="1"/>
              <a:t>Fif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2E92478-E295-48A0-9253-5D6DA02A86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sv-SE"/>
              <a:t>Full </a:t>
            </a:r>
            <a:r>
              <a:rPr lang="sv-SE" err="1"/>
              <a:t>steam</a:t>
            </a:r>
            <a:r>
              <a:rPr lang="sv-SE"/>
              <a:t> </a:t>
            </a:r>
            <a:r>
              <a:rPr lang="sv-SE" err="1"/>
              <a:t>ahead</a:t>
            </a:r>
            <a:r>
              <a:rPr lang="sv-SE"/>
              <a:t> - just a </a:t>
            </a:r>
            <a:r>
              <a:rPr lang="sv-SE" err="1"/>
              <a:t>dream</a:t>
            </a:r>
            <a:r>
              <a:rPr lang="sv-SE"/>
              <a:t>?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5C37F86-ACAB-4D42-8718-DCBE0BCC13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ordic Outlook</a:t>
            </a:r>
            <a:endParaRPr lang="sv-SE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EA76C5B-3380-4B84-B0C8-673114FD4F0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mtClean="0"/>
            </a:lvl1pPr>
          </a:lstStyle>
          <a:p>
            <a:pPr>
              <a:defRPr/>
            </a:pPr>
            <a:fld id="{967996D8-3E5E-400C-BADC-0E497444405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0389419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7000">
                <a:schemeClr val="accent3">
                  <a:lumMod val="20000"/>
                  <a:lumOff val="80000"/>
                  <a:alpha val="0"/>
                </a:schemeClr>
              </a:gs>
              <a:gs pos="100000">
                <a:schemeClr val="accent2"/>
              </a:gs>
              <a:gs pos="97000">
                <a:schemeClr val="accent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sz="12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9EF9439-E24F-4889-8243-89125662988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7029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3320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7757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8787925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170404741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627770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9185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101296556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ta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pic>
        <p:nvPicPr>
          <p:cNvPr id="4" name="Bildobjekt 7">
            <a:extLst>
              <a:ext uri="{FF2B5EF4-FFF2-40B4-BE49-F238E27FC236}">
                <a16:creationId xmlns:a16="http://schemas.microsoft.com/office/drawing/2014/main" id="{D5EC567F-081E-1A4E-803F-DE7704B068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32118279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  <a:cs typeface="Arial"/>
              </a:defRPr>
            </a:lvl1pPr>
            <a:lvl2pPr>
              <a:defRPr>
                <a:latin typeface="+mn-lt"/>
                <a:cs typeface="Arial"/>
              </a:defRPr>
            </a:lvl2pPr>
            <a:lvl3pPr>
              <a:defRPr>
                <a:latin typeface="+mn-lt"/>
                <a:cs typeface="Arial"/>
              </a:defRPr>
            </a:lvl3pPr>
            <a:lvl4pPr>
              <a:defRPr>
                <a:latin typeface="+mn-lt"/>
                <a:cs typeface="Arial"/>
              </a:defRPr>
            </a:lvl4pPr>
            <a:lvl5pPr>
              <a:defRPr>
                <a:latin typeface="+mn-lt"/>
                <a:cs typeface="Arial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CB65A2A-2D65-2449-8B2B-92C9E3869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EF37AE-EFE2-1B41-94EA-7764C0E29D09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26C9195-957A-DE4F-9E96-B511971F7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6815F99-061A-264C-A5EC-403048D79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68D89D-F7AB-6445-B15C-5A2C7BB1DB3A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5646602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145FA8A-0666-8D4E-B86A-CE37DB95B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792579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 9">
            <a:extLst>
              <a:ext uri="{FF2B5EF4-FFF2-40B4-BE49-F238E27FC236}">
                <a16:creationId xmlns:a16="http://schemas.microsoft.com/office/drawing/2014/main" id="{EFCACE07-956B-DE4E-8532-336AFEAE8B44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11" name="Ring 4">
              <a:extLst>
                <a:ext uri="{FF2B5EF4-FFF2-40B4-BE49-F238E27FC236}">
                  <a16:creationId xmlns:a16="http://schemas.microsoft.com/office/drawing/2014/main" id="{B8E967A4-DADC-3E4A-95B8-DF99089FC0A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12" name="Ellips 11">
              <a:extLst>
                <a:ext uri="{FF2B5EF4-FFF2-40B4-BE49-F238E27FC236}">
                  <a16:creationId xmlns:a16="http://schemas.microsoft.com/office/drawing/2014/main" id="{678B354B-7A2F-4E48-BB9C-0F8ACDEF70F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5" name="Underrubrik 2">
            <a:extLst>
              <a:ext uri="{FF2B5EF4-FFF2-40B4-BE49-F238E27FC236}">
                <a16:creationId xmlns:a16="http://schemas.microsoft.com/office/drawing/2014/main" id="{BD97D1C1-D36F-8F4F-914B-341344CF9E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7B5DA94A-F30D-244C-813C-658E94EBA0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13118621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78899156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4" y="726018"/>
            <a:ext cx="4783015" cy="11987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accent2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1" y="1889225"/>
            <a:ext cx="4783015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6"/>
              </a:buClr>
              <a:buFont typeface="+mj-lt"/>
              <a:buAutoNum type="arabicPeriod"/>
              <a:tabLst>
                <a:tab pos="2689225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584200" indent="-228600">
              <a:buClr>
                <a:schemeClr val="accent6"/>
              </a:buClr>
              <a:buFont typeface="+mj-lt"/>
              <a:buAutoNum type="alphaLcParenR"/>
              <a:tabLst>
                <a:tab pos="2689225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6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6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6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4784460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680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0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0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49465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28027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72361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1141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477295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6810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1187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911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82BC053C-D500-6E4E-946E-BAFA77ABE382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5891384B-1A12-6B4F-B1FA-E0D1984E3186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2F19A5B1-0E9C-9149-9934-65AF9D755C3E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113B8F87-E64E-D64E-8C9E-629038CB93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15355E33-7494-8C4D-A71A-E2AD03A563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183256018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3260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84486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924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13047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953197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18926013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699380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332198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114885792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801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44"/>
              </a:spcBef>
              <a:spcAft>
                <a:spcPts val="244"/>
              </a:spcAft>
            </a:pPr>
            <a:endParaRPr lang="en-US" sz="3575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5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975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7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138">
                <a:solidFill>
                  <a:schemeClr val="tx1"/>
                </a:solidFill>
              </a:defRPr>
            </a:lvl1pPr>
            <a:lvl2pPr marL="94159" indent="0">
              <a:buNone/>
              <a:defRPr>
                <a:solidFill>
                  <a:schemeClr val="bg1"/>
                </a:solidFill>
              </a:defRPr>
            </a:lvl2pPr>
            <a:lvl3pPr marL="378905" indent="0">
              <a:buNone/>
              <a:defRPr>
                <a:solidFill>
                  <a:schemeClr val="bg1"/>
                </a:solidFill>
              </a:defRPr>
            </a:lvl3pPr>
            <a:lvl4pPr marL="661226" indent="0">
              <a:buNone/>
              <a:defRPr>
                <a:solidFill>
                  <a:schemeClr val="bg1"/>
                </a:solidFill>
              </a:defRPr>
            </a:lvl4pPr>
            <a:lvl5pPr marL="94354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3" y="4092561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25">
                <a:solidFill>
                  <a:schemeClr val="tx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3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75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3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653951" eaLnBrk="0" hangingPunct="0"/>
            <a:r>
              <a:rPr lang="en-US" sz="65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653951" eaLnBrk="0" hangingPunct="0"/>
            <a:r>
              <a:rPr lang="en-US" sz="65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650">
                <a:solidFill>
                  <a:schemeClr val="tx1"/>
                </a:solidFill>
                <a:latin typeface="+mn-lt"/>
              </a:rPr>
            </a:br>
            <a:r>
              <a:rPr lang="en-US" sz="65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6333417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5302F078-BE45-3145-B850-5BC13A9F6C63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40E5CA66-D517-A948-87E3-73DFBB808A23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D20F5BB2-19D2-2049-9339-942F04AF0CE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A75EC33D-1C3E-3549-B0A7-097B3FAD3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496D2246-8399-B14F-A1B8-831C68338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23634067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2892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31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463" b="0">
                <a:solidFill>
                  <a:schemeClr val="tx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24788"/>
            <a:ext cx="325502" cy="1124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623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3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9623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3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1"/>
            <a:ext cx="7277861" cy="1000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5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5" y="100156"/>
            <a:ext cx="4480560" cy="101438"/>
          </a:xfrm>
        </p:spPr>
        <p:txBody>
          <a:bodyPr anchor="ctr" anchorCtr="0">
            <a:spAutoFit/>
          </a:bodyPr>
          <a:lstStyle>
            <a:lvl1pPr algn="r">
              <a:defRPr sz="65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7850647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9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24788"/>
            <a:ext cx="325502" cy="1124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623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3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9623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3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1"/>
            <a:ext cx="7277861" cy="1000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5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5" y="100156"/>
            <a:ext cx="4480560" cy="101438"/>
          </a:xfrm>
        </p:spPr>
        <p:txBody>
          <a:bodyPr anchor="ctr" anchorCtr="0">
            <a:spAutoFit/>
          </a:bodyPr>
          <a:lstStyle>
            <a:lvl1pPr algn="r">
              <a:defRPr sz="65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6510020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31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5" y="0"/>
            <a:ext cx="3410585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247504" y="6525415"/>
            <a:ext cx="924933" cy="11246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3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24788"/>
            <a:ext cx="325502" cy="1124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6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31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962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3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1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1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7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7" y="884727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63" b="0">
                <a:solidFill>
                  <a:schemeClr val="tx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71"/>
            <a:ext cx="7277861" cy="1000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244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6569" y="100156"/>
            <a:ext cx="2523744" cy="101438"/>
          </a:xfrm>
        </p:spPr>
        <p:txBody>
          <a:bodyPr anchor="ctr" anchorCtr="0">
            <a:spAutoFit/>
          </a:bodyPr>
          <a:lstStyle>
            <a:lvl1pPr algn="r">
              <a:defRPr sz="65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7338746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40500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500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x-none" sz="816" baseline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80" y="51833"/>
            <a:ext cx="89415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7785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 9">
            <a:extLst>
              <a:ext uri="{FF2B5EF4-FFF2-40B4-BE49-F238E27FC236}">
                <a16:creationId xmlns:a16="http://schemas.microsoft.com/office/drawing/2014/main" id="{EFCACE07-956B-DE4E-8532-336AFEAE8B44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11" name="Ring 4">
              <a:extLst>
                <a:ext uri="{FF2B5EF4-FFF2-40B4-BE49-F238E27FC236}">
                  <a16:creationId xmlns:a16="http://schemas.microsoft.com/office/drawing/2014/main" id="{B8E967A4-DADC-3E4A-95B8-DF99089FC0A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12" name="Ellips 11">
              <a:extLst>
                <a:ext uri="{FF2B5EF4-FFF2-40B4-BE49-F238E27FC236}">
                  <a16:creationId xmlns:a16="http://schemas.microsoft.com/office/drawing/2014/main" id="{678B354B-7A2F-4E48-BB9C-0F8ACDEF70F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5" name="Underrubrik 2">
            <a:extLst>
              <a:ext uri="{FF2B5EF4-FFF2-40B4-BE49-F238E27FC236}">
                <a16:creationId xmlns:a16="http://schemas.microsoft.com/office/drawing/2014/main" id="{BD97D1C1-D36F-8F4F-914B-341344CF9E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7B5DA94A-F30D-244C-813C-658E94EBA0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129068783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82BC053C-D500-6E4E-946E-BAFA77ABE382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5891384B-1A12-6B4F-B1FA-E0D1984E3186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2F19A5B1-0E9C-9149-9934-65AF9D755C3E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113B8F87-E64E-D64E-8C9E-629038CB93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15355E33-7494-8C4D-A71A-E2AD03A563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62302338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5302F078-BE45-3145-B850-5BC13A9F6C63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40E5CA66-D517-A948-87E3-73DFBB808A23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D20F5BB2-19D2-2049-9339-942F04AF0CE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A75EC33D-1C3E-3549-B0A7-097B3FAD3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496D2246-8399-B14F-A1B8-831C68338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612516246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8D05E976-6423-7649-B53E-5E4EE6A0B2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28102539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D1DF3290-7E87-D042-8600-6C90E67483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8912810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2D57B853-D9D7-D642-B60A-A9D1EA0D60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0830126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8D05E976-6423-7649-B53E-5E4EE6A0B2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23680240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F695FD39-09EB-5141-987E-926403F73A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36335180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A9C8DB5A-A3A1-D943-A9BD-2CF3CEA671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41304343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5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C86458F5-1D19-2346-953B-712F37848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244370692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679EE11F-D1FA-F645-8C83-9F09C99400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03A3EFB-65CB-0C4B-BD8E-90DFF19E34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9" y="2406650"/>
            <a:ext cx="5329236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32429683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D9B8C736-831B-974C-AEF8-21F72B3C1A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2CE8D85-99BE-D049-8416-39B6EA39E8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90507079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73914054-D189-3E43-A14D-D460C1A0E6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7656B429-34E8-4B42-A15B-75A2C179BD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7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244823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68099343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90873406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32582448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4">
            <a:extLst>
              <a:ext uri="{FF2B5EF4-FFF2-40B4-BE49-F238E27FC236}">
                <a16:creationId xmlns:a16="http://schemas.microsoft.com/office/drawing/2014/main" id="{6BA16CBF-BD41-5645-862E-D184EA9FD1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60960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latshållare för bild 4">
            <a:extLst>
              <a:ext uri="{FF2B5EF4-FFF2-40B4-BE49-F238E27FC236}">
                <a16:creationId xmlns:a16="http://schemas.microsoft.com/office/drawing/2014/main" id="{EECF1713-688C-4248-83F6-22EFD06925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79372" y="0"/>
            <a:ext cx="6112628" cy="68580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1537999"/>
            <a:ext cx="4970277" cy="2387600"/>
          </a:xfrm>
          <a:noFill/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4" y="4017674"/>
            <a:ext cx="4970277" cy="1207468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7815D73E-369E-554D-803B-6D151BFEE5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50120" y="1538000"/>
            <a:ext cx="4954505" cy="2387599"/>
          </a:xfrm>
        </p:spPr>
        <p:txBody>
          <a:bodyPr anchor="b">
            <a:noAutofit/>
          </a:bodyPr>
          <a:lstStyle>
            <a:lvl1pPr marL="0" indent="0" algn="ctr">
              <a:buFontTx/>
              <a:buNone/>
              <a:defRPr sz="4000" b="0" i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4572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9144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3pPr>
            <a:lvl4pPr marL="13716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4pPr>
            <a:lvl5pPr marL="18288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5pPr>
          </a:lstStyle>
          <a:p>
            <a:pPr lvl="0"/>
            <a:r>
              <a:rPr lang="sv-SE"/>
              <a:t>Klicka här för att lägga till rubrik</a:t>
            </a:r>
          </a:p>
        </p:txBody>
      </p:sp>
      <p:sp>
        <p:nvSpPr>
          <p:cNvPr id="17" name="Platshållare för text 16">
            <a:extLst>
              <a:ext uri="{FF2B5EF4-FFF2-40B4-BE49-F238E27FC236}">
                <a16:creationId xmlns:a16="http://schemas.microsoft.com/office/drawing/2014/main" id="{F70CA0D5-6D60-A74F-877F-C61BBE95CF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0120" y="4017674"/>
            <a:ext cx="4954505" cy="120746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13" name="Bildobjekt 7">
            <a:extLst>
              <a:ext uri="{FF2B5EF4-FFF2-40B4-BE49-F238E27FC236}">
                <a16:creationId xmlns:a16="http://schemas.microsoft.com/office/drawing/2014/main" id="{FEB07949-EEA5-5245-8BAA-5C38603E7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4989196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D1DF3290-7E87-D042-8600-6C90E67483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69820334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00103" y="1122363"/>
            <a:ext cx="7444159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0103" y="3602038"/>
            <a:ext cx="7444159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1320964-4081-1448-BF40-743591BA68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76353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1978" y="1122363"/>
            <a:ext cx="743228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1978" y="3602038"/>
            <a:ext cx="743228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487CBC6-072B-D045-A504-FD96A2E557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693532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35730" y="1122363"/>
            <a:ext cx="7408532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5730" y="3602038"/>
            <a:ext cx="7408532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F4A4C896-EFA4-2448-A824-78C1CD5B81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94483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F3C90D6-809C-4544-995A-25961A838C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C0F15878-E6A1-0741-AC27-B0ED6E01008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83313503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167A8DEA-2816-DA4A-B687-F08C8EC6B4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F4683308-FB74-284D-B1D7-FD1B09358FE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09030089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7DA8CF98-5DE0-754E-8460-2CF995C9E5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A785E0B9-26B6-7C44-93E1-B991FE1F7F6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80592272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örsätt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7">
            <a:extLst>
              <a:ext uri="{FF2B5EF4-FFF2-40B4-BE49-F238E27FC236}">
                <a16:creationId xmlns:a16="http://schemas.microsoft.com/office/drawing/2014/main" id="{2BE6A008-FE08-EE44-ADEF-8E288DE0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732" y="2492546"/>
            <a:ext cx="5092536" cy="1981395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78707103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as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7">
            <a:extLst>
              <a:ext uri="{FF2B5EF4-FFF2-40B4-BE49-F238E27FC236}">
                <a16:creationId xmlns:a16="http://schemas.microsoft.com/office/drawing/2014/main" id="{D5EC567F-081E-1A4E-803F-DE7704B068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59022206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 9">
            <a:extLst>
              <a:ext uri="{FF2B5EF4-FFF2-40B4-BE49-F238E27FC236}">
                <a16:creationId xmlns:a16="http://schemas.microsoft.com/office/drawing/2014/main" id="{EFCACE07-956B-DE4E-8532-336AFEAE8B44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11" name="Ring 4">
              <a:extLst>
                <a:ext uri="{FF2B5EF4-FFF2-40B4-BE49-F238E27FC236}">
                  <a16:creationId xmlns:a16="http://schemas.microsoft.com/office/drawing/2014/main" id="{B8E967A4-DADC-3E4A-95B8-DF99089FC0A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12" name="Ellips 11">
              <a:extLst>
                <a:ext uri="{FF2B5EF4-FFF2-40B4-BE49-F238E27FC236}">
                  <a16:creationId xmlns:a16="http://schemas.microsoft.com/office/drawing/2014/main" id="{678B354B-7A2F-4E48-BB9C-0F8ACDEF70F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5" name="Underrubrik 2">
            <a:extLst>
              <a:ext uri="{FF2B5EF4-FFF2-40B4-BE49-F238E27FC236}">
                <a16:creationId xmlns:a16="http://schemas.microsoft.com/office/drawing/2014/main" id="{BD97D1C1-D36F-8F4F-914B-341344CF9E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7B5DA94A-F30D-244C-813C-658E94EBA0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" panose="02000000000000000000" pitchFamily="2" charset="0"/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130776008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82BC053C-D500-6E4E-946E-BAFA77ABE382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5891384B-1A12-6B4F-B1FA-E0D1984E3186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2F19A5B1-0E9C-9149-9934-65AF9D755C3E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113B8F87-E64E-D64E-8C9E-629038CB93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15355E33-7494-8C4D-A71A-E2AD03A563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" panose="02000000000000000000" pitchFamily="2" charset="0"/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594408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>
            <a:noAutofit/>
          </a:bodyPr>
          <a:lstStyle>
            <a:lvl1pPr algn="l">
              <a:defRPr sz="3733" b="1" i="0" cap="all"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  <a:latin typeface="+mj-lt"/>
                <a:cs typeface="Arial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091E623-D0E6-044F-8C94-62A1C07D5B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645A5E-1E56-9D42-8AB1-C6BA8052FB08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352AB23-FD53-8144-999E-914643859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4D12E2A-80C4-574C-8789-DF3417403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3809EB-12EC-724B-A0D2-55C80A42A917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2214579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2D57B853-D9D7-D642-B60A-A9D1EA0D60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3772141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5302F078-BE45-3145-B850-5BC13A9F6C63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40E5CA66-D517-A948-87E3-73DFBB808A23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D20F5BB2-19D2-2049-9339-942F04AF0CE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A75EC33D-1C3E-3549-B0A7-097B3FAD3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496D2246-8399-B14F-A1B8-831C68338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" panose="02000000000000000000" pitchFamily="2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201243315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8D05E976-6423-7649-B53E-5E4EE6A0B2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55262597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D1DF3290-7E87-D042-8600-6C90E67483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21091265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2D57B853-D9D7-D642-B60A-A9D1EA0D60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15959983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F695FD39-09EB-5141-987E-926403F73A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67005178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A9C8DB5A-A3A1-D943-A9BD-2CF3CEA671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32003695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5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C86458F5-1D19-2346-953B-712F37848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800410410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679EE11F-D1FA-F645-8C83-9F09C99400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03A3EFB-65CB-0C4B-BD8E-90DFF19E34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9" y="2406650"/>
            <a:ext cx="5329236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31528565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D9B8C736-831B-974C-AEF8-21F72B3C1A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2CE8D85-99BE-D049-8416-39B6EA39E8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32629322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73914054-D189-3E43-A14D-D460C1A0E6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7656B429-34E8-4B42-A15B-75A2C179BD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7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0675981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F695FD39-09EB-5141-987E-926403F73A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597101711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65312544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06592813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43534655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4">
            <a:extLst>
              <a:ext uri="{FF2B5EF4-FFF2-40B4-BE49-F238E27FC236}">
                <a16:creationId xmlns:a16="http://schemas.microsoft.com/office/drawing/2014/main" id="{6BA16CBF-BD41-5645-862E-D184EA9FD1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60960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latshållare för bild 4">
            <a:extLst>
              <a:ext uri="{FF2B5EF4-FFF2-40B4-BE49-F238E27FC236}">
                <a16:creationId xmlns:a16="http://schemas.microsoft.com/office/drawing/2014/main" id="{EECF1713-688C-4248-83F6-22EFD06925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79372" y="0"/>
            <a:ext cx="6112628" cy="68580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1537999"/>
            <a:ext cx="4970277" cy="2387600"/>
          </a:xfrm>
          <a:noFill/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4" y="4017674"/>
            <a:ext cx="4970277" cy="1207468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7815D73E-369E-554D-803B-6D151BFEE5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50120" y="1538000"/>
            <a:ext cx="4954505" cy="2387599"/>
          </a:xfrm>
        </p:spPr>
        <p:txBody>
          <a:bodyPr anchor="b">
            <a:noAutofit/>
          </a:bodyPr>
          <a:lstStyle>
            <a:lvl1pPr marL="0" indent="0" algn="ctr">
              <a:buFontTx/>
              <a:buNone/>
              <a:defRPr sz="40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FontTx/>
              <a:buNone/>
              <a:defRPr sz="4000" b="0" i="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>
              <a:buFontTx/>
              <a:buNone/>
              <a:defRPr sz="4000" b="0" i="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>
              <a:buFontTx/>
              <a:buNone/>
              <a:defRPr sz="4000" b="0" i="0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>
              <a:buFontTx/>
              <a:buNone/>
              <a:defRPr sz="4000" b="0" i="0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sv-SE"/>
              <a:t>Klicka här för att lägga till rubrik</a:t>
            </a:r>
          </a:p>
        </p:txBody>
      </p:sp>
      <p:sp>
        <p:nvSpPr>
          <p:cNvPr id="17" name="Platshållare för text 16">
            <a:extLst>
              <a:ext uri="{FF2B5EF4-FFF2-40B4-BE49-F238E27FC236}">
                <a16:creationId xmlns:a16="http://schemas.microsoft.com/office/drawing/2014/main" id="{F70CA0D5-6D60-A74F-877F-C61BBE95CF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0120" y="4017674"/>
            <a:ext cx="4954505" cy="120746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13" name="Bildobjekt 7">
            <a:extLst>
              <a:ext uri="{FF2B5EF4-FFF2-40B4-BE49-F238E27FC236}">
                <a16:creationId xmlns:a16="http://schemas.microsoft.com/office/drawing/2014/main" id="{FEB07949-EEA5-5245-8BAA-5C38603E7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13838612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00103" y="1122363"/>
            <a:ext cx="7444159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0103" y="3602038"/>
            <a:ext cx="7444159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1320964-4081-1448-BF40-743591BA68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03117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1978" y="1122363"/>
            <a:ext cx="743228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1978" y="3602038"/>
            <a:ext cx="743228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487CBC6-072B-D045-A504-FD96A2E557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166552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35730" y="1122363"/>
            <a:ext cx="7408532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5730" y="3602038"/>
            <a:ext cx="7408532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F4A4C896-EFA4-2448-A824-78C1CD5B81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17236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F3C90D6-809C-4544-995A-25961A838C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C0F15878-E6A1-0741-AC27-B0ED6E01008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413303509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167A8DEA-2816-DA4A-B687-F08C8EC6B4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F4683308-FB74-284D-B1D7-FD1B09358FE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53642168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7DA8CF98-5DE0-754E-8460-2CF995C9E5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A785E0B9-26B6-7C44-93E1-B991FE1F7F6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8553210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A9C8DB5A-A3A1-D943-A9BD-2CF3CEA671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45219336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örsätt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7">
            <a:extLst>
              <a:ext uri="{FF2B5EF4-FFF2-40B4-BE49-F238E27FC236}">
                <a16:creationId xmlns:a16="http://schemas.microsoft.com/office/drawing/2014/main" id="{2BE6A008-FE08-EE44-ADEF-8E288DE0D9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9732" y="2492546"/>
            <a:ext cx="5092536" cy="1981395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59402183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3825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112E494C-8838-C749-B4BF-336611B964E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401C1C64-9FD7-AC46-AC2D-0029FD7FCF8B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Platshållare för innehåll 6">
            <a:extLst>
              <a:ext uri="{FF2B5EF4-FFF2-40B4-BE49-F238E27FC236}">
                <a16:creationId xmlns:a16="http://schemas.microsoft.com/office/drawing/2014/main" id="{36F8924E-5B08-C84D-8FD9-D2B16DB2208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87375" y="1540121"/>
            <a:ext cx="5025757" cy="2387600"/>
          </a:xfrm>
        </p:spPr>
        <p:txBody>
          <a:bodyPr anchor="b" anchorCtr="0">
            <a:normAutofit/>
          </a:bodyPr>
          <a:lstStyle>
            <a:lvl1pPr marL="0" indent="0" algn="ctr">
              <a:buFontTx/>
              <a:buNone/>
              <a:defRPr sz="4000" b="0" i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sv-SE"/>
              <a:t>Klicka här för att lägga till rubrik</a:t>
            </a:r>
          </a:p>
        </p:txBody>
      </p:sp>
      <p:sp>
        <p:nvSpPr>
          <p:cNvPr id="11" name="Platshållare för text 16">
            <a:extLst>
              <a:ext uri="{FF2B5EF4-FFF2-40B4-BE49-F238E27FC236}">
                <a16:creationId xmlns:a16="http://schemas.microsoft.com/office/drawing/2014/main" id="{B824B995-D5AE-E24F-9288-7185854E37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4346" y="4019797"/>
            <a:ext cx="5025945" cy="1229096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3" name="Platshållare för innehåll 6">
            <a:extLst>
              <a:ext uri="{FF2B5EF4-FFF2-40B4-BE49-F238E27FC236}">
                <a16:creationId xmlns:a16="http://schemas.microsoft.com/office/drawing/2014/main" id="{0C3B713F-13A5-EC46-B1D8-7AB05885476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578868" y="1540121"/>
            <a:ext cx="5025757" cy="2387600"/>
          </a:xfrm>
        </p:spPr>
        <p:txBody>
          <a:bodyPr anchor="b" anchorCtr="0">
            <a:normAutofit/>
          </a:bodyPr>
          <a:lstStyle>
            <a:lvl1pPr marL="0" indent="0" algn="ctr">
              <a:buFontTx/>
              <a:buNone/>
              <a:defRPr sz="4000" b="0" i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sv-SE"/>
              <a:t>Klicka här för att lägga till rubrik</a:t>
            </a:r>
          </a:p>
        </p:txBody>
      </p:sp>
      <p:sp>
        <p:nvSpPr>
          <p:cNvPr id="14" name="Platshållare för text 16">
            <a:extLst>
              <a:ext uri="{FF2B5EF4-FFF2-40B4-BE49-F238E27FC236}">
                <a16:creationId xmlns:a16="http://schemas.microsoft.com/office/drawing/2014/main" id="{00DBCF07-9483-8440-A18D-D5AE51EF5E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71709" y="4019797"/>
            <a:ext cx="5025945" cy="1229096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419719187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 9">
            <a:extLst>
              <a:ext uri="{FF2B5EF4-FFF2-40B4-BE49-F238E27FC236}">
                <a16:creationId xmlns:a16="http://schemas.microsoft.com/office/drawing/2014/main" id="{EFCACE07-956B-DE4E-8532-336AFEAE8B44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11" name="Ring 4">
              <a:extLst>
                <a:ext uri="{FF2B5EF4-FFF2-40B4-BE49-F238E27FC236}">
                  <a16:creationId xmlns:a16="http://schemas.microsoft.com/office/drawing/2014/main" id="{B8E967A4-DADC-3E4A-95B8-DF99089FC0A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12" name="Ellips 11">
              <a:extLst>
                <a:ext uri="{FF2B5EF4-FFF2-40B4-BE49-F238E27FC236}">
                  <a16:creationId xmlns:a16="http://schemas.microsoft.com/office/drawing/2014/main" id="{678B354B-7A2F-4E48-BB9C-0F8ACDEF70F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5" name="Underrubrik 2">
            <a:extLst>
              <a:ext uri="{FF2B5EF4-FFF2-40B4-BE49-F238E27FC236}">
                <a16:creationId xmlns:a16="http://schemas.microsoft.com/office/drawing/2014/main" id="{BD97D1C1-D36F-8F4F-914B-341344CF9E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7B5DA94A-F30D-244C-813C-658E94EBA0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3152880095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82BC053C-D500-6E4E-946E-BAFA77ABE382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5891384B-1A12-6B4F-B1FA-E0D1984E3186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2F19A5B1-0E9C-9149-9934-65AF9D755C3E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113B8F87-E64E-D64E-8C9E-629038CB93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15355E33-7494-8C4D-A71A-E2AD03A563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216232185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5302F078-BE45-3145-B850-5BC13A9F6C63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40E5CA66-D517-A948-87E3-73DFBB808A23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D20F5BB2-19D2-2049-9339-942F04AF0CE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A75EC33D-1C3E-3549-B0A7-097B3FAD3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496D2246-8399-B14F-A1B8-831C68338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1837021007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8D05E976-6423-7649-B53E-5E4EE6A0B2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80028449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D1DF3290-7E87-D042-8600-6C90E67483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252799262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2D57B853-D9D7-D642-B60A-A9D1EA0D60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89287213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F695FD39-09EB-5141-987E-926403F73A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7173164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5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C86458F5-1D19-2346-953B-712F37848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94025155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A9C8DB5A-A3A1-D943-A9BD-2CF3CEA671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684678806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5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C86458F5-1D19-2346-953B-712F37848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071375114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679EE11F-D1FA-F645-8C83-9F09C99400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03A3EFB-65CB-0C4B-BD8E-90DFF19E34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9" y="2406650"/>
            <a:ext cx="5329236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25867555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D9B8C736-831B-974C-AEF8-21F72B3C1A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2CE8D85-99BE-D049-8416-39B6EA39E8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87082401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73914054-D189-3E43-A14D-D460C1A0E6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7656B429-34E8-4B42-A15B-75A2C179BD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7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1452624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264111013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15603690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427510673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4">
            <a:extLst>
              <a:ext uri="{FF2B5EF4-FFF2-40B4-BE49-F238E27FC236}">
                <a16:creationId xmlns:a16="http://schemas.microsoft.com/office/drawing/2014/main" id="{6BA16CBF-BD41-5645-862E-D184EA9FD1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60960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latshållare för bild 4">
            <a:extLst>
              <a:ext uri="{FF2B5EF4-FFF2-40B4-BE49-F238E27FC236}">
                <a16:creationId xmlns:a16="http://schemas.microsoft.com/office/drawing/2014/main" id="{EECF1713-688C-4248-83F6-22EFD06925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79372" y="0"/>
            <a:ext cx="6112628" cy="68580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1537999"/>
            <a:ext cx="4970277" cy="2387600"/>
          </a:xfrm>
          <a:noFill/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4" y="4017674"/>
            <a:ext cx="4970277" cy="1207468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7815D73E-369E-554D-803B-6D151BFEE5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50120" y="1538000"/>
            <a:ext cx="4954505" cy="2387599"/>
          </a:xfrm>
        </p:spPr>
        <p:txBody>
          <a:bodyPr anchor="b">
            <a:noAutofit/>
          </a:bodyPr>
          <a:lstStyle>
            <a:lvl1pPr marL="0" indent="0" algn="ctr">
              <a:buFontTx/>
              <a:buNone/>
              <a:defRPr sz="4000" b="0" i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4572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9144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3pPr>
            <a:lvl4pPr marL="13716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4pPr>
            <a:lvl5pPr marL="18288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5pPr>
          </a:lstStyle>
          <a:p>
            <a:pPr lvl="0"/>
            <a:r>
              <a:rPr lang="sv-SE"/>
              <a:t>Klicka här för att lägga till rubrik</a:t>
            </a:r>
          </a:p>
        </p:txBody>
      </p:sp>
      <p:sp>
        <p:nvSpPr>
          <p:cNvPr id="17" name="Platshållare för text 16">
            <a:extLst>
              <a:ext uri="{FF2B5EF4-FFF2-40B4-BE49-F238E27FC236}">
                <a16:creationId xmlns:a16="http://schemas.microsoft.com/office/drawing/2014/main" id="{F70CA0D5-6D60-A74F-877F-C61BBE95CF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0120" y="4017674"/>
            <a:ext cx="4954505" cy="120746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13" name="Bildobjekt 7">
            <a:extLst>
              <a:ext uri="{FF2B5EF4-FFF2-40B4-BE49-F238E27FC236}">
                <a16:creationId xmlns:a16="http://schemas.microsoft.com/office/drawing/2014/main" id="{FEB07949-EEA5-5245-8BAA-5C38603E7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87248724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00103" y="1122363"/>
            <a:ext cx="7444159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0103" y="3602038"/>
            <a:ext cx="7444159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1320964-4081-1448-BF40-743591BA68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8590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679EE11F-D1FA-F645-8C83-9F09C99400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03A3EFB-65CB-0C4B-BD8E-90DFF19E34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9" y="2406650"/>
            <a:ext cx="5329236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921833877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1978" y="1122363"/>
            <a:ext cx="743228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1978" y="3602038"/>
            <a:ext cx="743228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487CBC6-072B-D045-A504-FD96A2E557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27903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35730" y="1122363"/>
            <a:ext cx="7408532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5730" y="3602038"/>
            <a:ext cx="7408532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F4A4C896-EFA4-2448-A824-78C1CD5B81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8786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F3C90D6-809C-4544-995A-25961A838C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C0F15878-E6A1-0741-AC27-B0ED6E01008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34320839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167A8DEA-2816-DA4A-B687-F08C8EC6B4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F4683308-FB74-284D-B1D7-FD1B09358FE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86685591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7DA8CF98-5DE0-754E-8460-2CF995C9E5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A785E0B9-26B6-7C44-93E1-B991FE1F7F6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660034344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örsätt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7">
            <a:extLst>
              <a:ext uri="{FF2B5EF4-FFF2-40B4-BE49-F238E27FC236}">
                <a16:creationId xmlns:a16="http://schemas.microsoft.com/office/drawing/2014/main" id="{2BE6A008-FE08-EE44-ADEF-8E288DE0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732" y="2492546"/>
            <a:ext cx="5092536" cy="1981395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36787038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4F4FF-7F51-4463-87A9-CE523B1F90BB}"/>
              </a:ext>
            </a:extLst>
          </p:cNvPr>
          <p:cNvSpPr txBox="1">
            <a:spLocks/>
          </p:cNvSpPr>
          <p:nvPr userDrawn="1"/>
        </p:nvSpPr>
        <p:spPr>
          <a:xfrm>
            <a:off x="398680" y="6375161"/>
            <a:ext cx="954207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STRICTLY PRIVATE </a:t>
            </a:r>
            <a:br>
              <a:rPr lang="en-GB" sz="600" b="0" i="0" spc="0" baseline="0">
                <a:solidFill>
                  <a:schemeClr val="bg1"/>
                </a:solidFill>
                <a:latin typeface="+mn-lt"/>
              </a:rPr>
            </a:br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AND CONFIDENTIAL</a:t>
            </a:r>
          </a:p>
        </p:txBody>
      </p:sp>
      <p:pic>
        <p:nvPicPr>
          <p:cNvPr id="28" name="Picture 27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1F445C1F-7844-488F-A471-4F655E7365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1355" y="5964318"/>
            <a:ext cx="1068854" cy="387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23442123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5" y="726018"/>
            <a:ext cx="9146338" cy="119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0" y="1889225"/>
            <a:ext cx="9145108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449263" indent="-225425">
              <a:buClr>
                <a:schemeClr val="accent3"/>
              </a:buClr>
              <a:buFont typeface="+mj-lt"/>
              <a:buAutoNum type="alphaLcParenR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9145108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027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1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75910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23523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D9B8C736-831B-974C-AEF8-21F72B3C1A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2CE8D85-99BE-D049-8416-39B6EA39E8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68422140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9985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097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6947313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0362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1648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297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5267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40358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7000">
                <a:schemeClr val="accent3">
                  <a:lumMod val="20000"/>
                  <a:lumOff val="80000"/>
                  <a:alpha val="0"/>
                </a:schemeClr>
              </a:gs>
              <a:gs pos="100000">
                <a:schemeClr val="accent2"/>
              </a:gs>
              <a:gs pos="97000">
                <a:schemeClr val="accent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sz="12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9EF9439-E24F-4889-8243-89125662988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7029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6284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2501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73914054-D189-3E43-A14D-D460C1A0E6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7656B429-34E8-4B42-A15B-75A2C179BD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7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28053910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56176996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739874301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3448952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7824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427207402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  <a:cs typeface="Arial"/>
              </a:defRPr>
            </a:lvl1pPr>
            <a:lvl2pPr>
              <a:defRPr>
                <a:latin typeface="+mn-lt"/>
                <a:cs typeface="Arial"/>
              </a:defRPr>
            </a:lvl2pPr>
            <a:lvl3pPr>
              <a:defRPr>
                <a:latin typeface="+mn-lt"/>
                <a:cs typeface="Arial"/>
              </a:defRPr>
            </a:lvl3pPr>
            <a:lvl4pPr>
              <a:defRPr>
                <a:latin typeface="+mn-lt"/>
                <a:cs typeface="Arial"/>
              </a:defRPr>
            </a:lvl4pPr>
            <a:lvl5pPr>
              <a:defRPr>
                <a:latin typeface="+mn-lt"/>
                <a:cs typeface="Arial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CB65A2A-2D65-2449-8B2B-92C9E3869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EF37AE-EFE2-1B41-94EA-7764C0E29D09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26C9195-957A-DE4F-9E96-B511971F7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6815F99-061A-264C-A5EC-403048D79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68D89D-F7AB-6445-B15C-5A2C7BB1DB3A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719846260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145FA8A-0666-8D4E-B86A-CE37DB95B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25323318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prstClr val="black"/>
              </a:solidFill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4F4FF-7F51-4463-87A9-CE523B1F90BB}"/>
              </a:ext>
            </a:extLst>
          </p:cNvPr>
          <p:cNvSpPr txBox="1">
            <a:spLocks/>
          </p:cNvSpPr>
          <p:nvPr userDrawn="1"/>
        </p:nvSpPr>
        <p:spPr>
          <a:xfrm>
            <a:off x="398680" y="6375161"/>
            <a:ext cx="954207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00">
                <a:solidFill>
                  <a:prstClr val="white"/>
                </a:solidFill>
              </a:rPr>
              <a:t>STRICTLY PRIVATE </a:t>
            </a:r>
            <a:br>
              <a:rPr lang="en-GB" sz="600">
                <a:solidFill>
                  <a:prstClr val="white"/>
                </a:solidFill>
              </a:rPr>
            </a:br>
            <a:r>
              <a:rPr lang="en-GB" sz="600">
                <a:solidFill>
                  <a:prstClr val="white"/>
                </a:solidFill>
              </a:rPr>
              <a:t>AND CONFIDENTIAL</a:t>
            </a:r>
          </a:p>
        </p:txBody>
      </p:sp>
      <p:pic>
        <p:nvPicPr>
          <p:cNvPr id="28" name="Picture 27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1F445C1F-7844-488F-A471-4F655E7365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1355" y="5964318"/>
            <a:ext cx="1068854" cy="387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34712007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prstClr val="white"/>
                </a:solidFill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5" y="726018"/>
            <a:ext cx="9146338" cy="119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prstClr val="black"/>
              </a:solidFill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0" y="1889225"/>
            <a:ext cx="9145108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prstClr val="black"/>
              </a:solidFill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449263" indent="-225425">
              <a:buClr>
                <a:schemeClr val="accent3"/>
              </a:buClr>
              <a:buFont typeface="+mj-lt"/>
              <a:buAutoNum type="alphaLcParenR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9145108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prstClr val="black"/>
              </a:solidFill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7290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prstClr val="black"/>
              </a:solidFill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1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594699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522706685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46330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en-GB">
                <a:solidFill>
                  <a:srgbClr val="E87722">
                    <a:lumOff val="44000"/>
                  </a:srgb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E87722">
                      <a:lumOff val="44000"/>
                    </a:srgbClr>
                  </a:solidFill>
                </a:defRPr>
              </a:pPr>
              <a:endParaRPr>
                <a:solidFill>
                  <a:srgbClr val="E87722">
                    <a:lumOff val="44000"/>
                  </a:srgbClr>
                </a:solidFill>
              </a:endParaRPr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40457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9838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8199016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0368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9624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269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9669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62616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7000">
                <a:schemeClr val="accent3">
                  <a:lumMod val="20000"/>
                  <a:lumOff val="80000"/>
                  <a:alpha val="0"/>
                </a:schemeClr>
              </a:gs>
              <a:gs pos="100000">
                <a:schemeClr val="accent2"/>
              </a:gs>
              <a:gs pos="97000">
                <a:schemeClr val="accent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sz="12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9EF9439-E24F-4889-8243-89125662988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7029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73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64620535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80788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04881036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en-GB">
                <a:solidFill>
                  <a:srgbClr val="E87722">
                    <a:lumOff val="44000"/>
                  </a:srgb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E87722">
                      <a:lumOff val="44000"/>
                    </a:srgbClr>
                  </a:solidFill>
                </a:defRPr>
              </a:pPr>
              <a:endParaRPr>
                <a:solidFill>
                  <a:srgbClr val="E87722">
                    <a:lumOff val="44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6204865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1604610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solidFill>
                <a:prstClr val="black"/>
              </a:solidFill>
              <a:latin typeface="Roboto Slab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>
              <a:spcBef>
                <a:spcPts val="300"/>
              </a:spcBef>
              <a:buClr>
                <a:srgbClr val="003349"/>
              </a:buClr>
              <a:buFont typeface="Wingdings" panose="05000000000000000000" pitchFamily="2" charset="2"/>
              <a:buChar char="§"/>
            </a:pPr>
            <a:r>
              <a:rPr lang="en-GB">
                <a:solidFill>
                  <a:prstClr val="black"/>
                </a:solidFill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buClr>
                <a:srgbClr val="003349"/>
              </a:buClr>
            </a:pPr>
            <a:r>
              <a:rPr lang="en-GB">
                <a:solidFill>
                  <a:prstClr val="black"/>
                </a:solidFill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buClr>
                <a:srgbClr val="003349"/>
              </a:buClr>
            </a:pPr>
            <a:r>
              <a:rPr lang="en-GB">
                <a:solidFill>
                  <a:prstClr val="black"/>
                </a:solidFill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solidFill>
                <a:prstClr val="black"/>
              </a:solidFill>
              <a:latin typeface="Roboto Slab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700">
                <a:solidFill>
                  <a:srgbClr val="383838"/>
                </a:solidFill>
                <a:latin typeface="Roboto Slab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i="1">
                <a:solidFill>
                  <a:srgbClr val="383838"/>
                </a:solidFill>
                <a:latin typeface="Roboto Slab"/>
                <a:cs typeface="Segoe UI" panose="020B0502040204020203" pitchFamily="34" charset="0"/>
              </a:rPr>
              <a:t>eyedropper </a:t>
            </a:r>
          </a:p>
          <a:p>
            <a:endParaRPr lang="en-GB" sz="700" i="1">
              <a:solidFill>
                <a:srgbClr val="383838"/>
              </a:solidFill>
              <a:latin typeface="Roboto Slab"/>
              <a:cs typeface="Segoe UI" panose="020B0502040204020203" pitchFamily="34" charset="0"/>
            </a:endParaRPr>
          </a:p>
          <a:p>
            <a:r>
              <a:rPr lang="en-GB" sz="700" i="1">
                <a:solidFill>
                  <a:srgbClr val="383838"/>
                </a:solidFill>
                <a:latin typeface="Roboto Slab"/>
                <a:cs typeface="Segoe UI" panose="020B0502040204020203" pitchFamily="34" charset="0"/>
              </a:rPr>
              <a:t>Do not use the </a:t>
            </a:r>
            <a:br>
              <a:rPr lang="en-GB" sz="700" i="1">
                <a:solidFill>
                  <a:srgbClr val="383838"/>
                </a:solidFill>
                <a:latin typeface="Roboto Slab"/>
                <a:cs typeface="Segoe UI" panose="020B0502040204020203" pitchFamily="34" charset="0"/>
              </a:rPr>
            </a:br>
            <a:r>
              <a:rPr lang="en-GB" sz="700" i="1">
                <a:solidFill>
                  <a:srgbClr val="383838"/>
                </a:solidFill>
                <a:latin typeface="Roboto Slab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prstClr val="black"/>
                </a:solidFill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prstClr val="black"/>
                </a:solidFill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prstClr val="black"/>
                </a:solidFill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prstClr val="black"/>
              </a:solidFill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prstClr val="black"/>
                </a:solidFill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prstClr val="white"/>
                </a:solidFill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prstClr val="white"/>
                </a:solidFill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prstClr val="white"/>
                </a:solidFill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prstClr val="white"/>
                </a:solidFill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prstClr val="white"/>
                </a:solidFill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prstClr val="white"/>
                </a:solidFill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prstClr val="white"/>
                </a:solidFill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prstClr val="white"/>
                </a:solidFill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en-GB" sz="1000">
                <a:solidFill>
                  <a:prstClr val="black"/>
                </a:solidFill>
                <a:latin typeface="Roboto Slab"/>
                <a:cs typeface="Segoe UI" panose="020B0502040204020203" pitchFamily="34" charset="0"/>
              </a:rPr>
              <a:t>Gradients</a:t>
            </a:r>
            <a:endParaRPr lang="en-GB" sz="1400">
              <a:solidFill>
                <a:prstClr val="black"/>
              </a:solidFill>
              <a:latin typeface="Roboto Slab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rgbClr val="383838"/>
                </a:solidFill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rgbClr val="383838"/>
                </a:solidFill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rgbClr val="383838"/>
                </a:solidFill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rgbClr val="383838"/>
                </a:solidFill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black"/>
                </a:solidFill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black"/>
                </a:solidFill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black"/>
                </a:solidFill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black"/>
                </a:solidFill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en-GB" sz="1000">
                <a:solidFill>
                  <a:prstClr val="black"/>
                </a:solidFill>
                <a:latin typeface="Roboto Slab"/>
                <a:cs typeface="Segoe UI" panose="020B0502040204020203" pitchFamily="34" charset="0"/>
              </a:rPr>
              <a:t>Accent colours</a:t>
            </a:r>
            <a:endParaRPr lang="en-GB" sz="1400">
              <a:solidFill>
                <a:prstClr val="black"/>
              </a:solidFill>
              <a:latin typeface="Roboto Slab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prstClr val="black"/>
                </a:solidFill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solidFill>
                <a:prstClr val="black"/>
              </a:solidFill>
              <a:latin typeface="Roboto Slab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solidFill>
                <a:prstClr val="black"/>
              </a:solidFill>
              <a:latin typeface="Roboto Slab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prstClr val="black"/>
                </a:solidFill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sz="600">
                <a:solidFill>
                  <a:prstClr val="black"/>
                </a:solidFill>
                <a:cs typeface="Segoe UI" panose="020B0502040204020203" pitchFamily="34" charset="0"/>
              </a:rPr>
              <a:t>Trebuchet MS</a:t>
            </a:r>
          </a:p>
          <a:p>
            <a:r>
              <a:rPr lang="en-GB">
                <a:solidFill>
                  <a:prstClr val="black"/>
                </a:solidFill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 sz="800">
                <a:solidFill>
                  <a:prstClr val="black"/>
                </a:solidFill>
                <a:latin typeface="Roboto"/>
                <a:cs typeface="Segoe UI" panose="020B0502040204020203" pitchFamily="34" charset="0"/>
              </a:rPr>
              <a:t>SEGOE UI LIGHT </a:t>
            </a:r>
            <a:br>
              <a:rPr lang="en-GB" sz="800">
                <a:solidFill>
                  <a:prstClr val="black"/>
                </a:solidFill>
                <a:latin typeface="Roboto"/>
                <a:cs typeface="Segoe UI" panose="020B0502040204020203" pitchFamily="34" charset="0"/>
              </a:rPr>
            </a:br>
            <a:r>
              <a:rPr lang="en-US">
                <a:solidFill>
                  <a:prstClr val="black"/>
                </a:solidFill>
                <a:latin typeface="Roboto"/>
                <a:cs typeface="Segoe UI" panose="020B0502040204020203" pitchFamily="34" charset="0"/>
              </a:rPr>
              <a:t>“The aroma of baking bread fills the air”</a:t>
            </a:r>
            <a:endParaRPr lang="en-GB">
              <a:solidFill>
                <a:prstClr val="black"/>
              </a:solidFill>
              <a:latin typeface="Roboto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prstClr val="black"/>
                </a:solidFill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algn="r"/>
            <a:r>
              <a:rPr lang="en-GB" sz="800" i="1">
                <a:solidFill>
                  <a:prstClr val="white"/>
                </a:solidFill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algn="r"/>
            <a:r>
              <a:rPr lang="en-GB" sz="800" i="1">
                <a:solidFill>
                  <a:prstClr val="black"/>
                </a:solidFill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33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89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218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174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147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176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</a:pPr>
            <a:r>
              <a:rPr lang="en-GB" sz="700">
                <a:solidFill>
                  <a:sysClr val="windowText" lastClr="000000"/>
                </a:solidFill>
              </a:rPr>
              <a:t>232</a:t>
            </a:r>
          </a:p>
          <a:p>
            <a:pPr>
              <a:spcBef>
                <a:spcPct val="20000"/>
              </a:spcBef>
            </a:pPr>
            <a:r>
              <a:rPr lang="en-GB" sz="700">
                <a:solidFill>
                  <a:sysClr val="windowText" lastClr="000000"/>
                </a:solidFill>
              </a:rPr>
              <a:t>119</a:t>
            </a:r>
          </a:p>
          <a:p>
            <a:pPr>
              <a:spcBef>
                <a:spcPct val="20000"/>
              </a:spcBef>
            </a:pPr>
            <a:r>
              <a:rPr lang="en-GB" sz="700">
                <a:solidFill>
                  <a:sysClr val="windowText" lastClr="000000"/>
                </a:solidFill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</a:pPr>
            <a:r>
              <a:rPr lang="en-GB" sz="700">
                <a:solidFill>
                  <a:prstClr val="white"/>
                </a:solidFill>
              </a:rPr>
              <a:t>215</a:t>
            </a:r>
          </a:p>
          <a:p>
            <a:pPr>
              <a:spcBef>
                <a:spcPct val="20000"/>
              </a:spcBef>
            </a:pPr>
            <a:r>
              <a:rPr lang="en-GB" sz="700">
                <a:solidFill>
                  <a:prstClr val="white"/>
                </a:solidFill>
              </a:rPr>
              <a:t>210</a:t>
            </a:r>
          </a:p>
          <a:p>
            <a:pPr>
              <a:spcBef>
                <a:spcPct val="20000"/>
              </a:spcBef>
            </a:pPr>
            <a:r>
              <a:rPr lang="en-GB" sz="700">
                <a:solidFill>
                  <a:prstClr val="white"/>
                </a:solidFill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ysClr val="windowText" lastClr="000000"/>
                </a:solidFill>
              </a:rPr>
              <a:t>234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ysClr val="windowText" lastClr="000000"/>
                </a:solidFill>
              </a:rPr>
              <a:t>233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ysClr val="windowText" lastClr="000000"/>
                </a:solidFill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56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56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0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51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prstClr val="white"/>
                </a:solidFill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6124618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>
                <a:solidFill>
                  <a:prstClr val="white"/>
                </a:solidFill>
                <a:latin typeface="Roboto Slab"/>
              </a:rPr>
              <a:t>OBS!</a:t>
            </a:r>
          </a:p>
          <a:p>
            <a:r>
              <a:rPr lang="sv-SE">
                <a:solidFill>
                  <a:prstClr val="white"/>
                </a:solidFill>
                <a:latin typeface="Roboto Slab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932819120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  <a:cs typeface="Arial"/>
              </a:defRPr>
            </a:lvl1pPr>
            <a:lvl2pPr>
              <a:defRPr>
                <a:latin typeface="+mn-lt"/>
                <a:cs typeface="Arial"/>
              </a:defRPr>
            </a:lvl2pPr>
            <a:lvl3pPr>
              <a:defRPr>
                <a:latin typeface="+mn-lt"/>
                <a:cs typeface="Arial"/>
              </a:defRPr>
            </a:lvl3pPr>
            <a:lvl4pPr>
              <a:defRPr>
                <a:latin typeface="+mn-lt"/>
                <a:cs typeface="Arial"/>
              </a:defRPr>
            </a:lvl4pPr>
            <a:lvl5pPr>
              <a:defRPr>
                <a:latin typeface="+mn-lt"/>
                <a:cs typeface="Arial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CB65A2A-2D65-2449-8B2B-92C9E3869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EF37AE-EFE2-1B41-94EA-7764C0E29D09}" type="datetimeFigureOut">
              <a:rPr lang="sv-SE" altLang="sv-SE">
                <a:solidFill>
                  <a:prstClr val="black"/>
                </a:solidFill>
              </a:rPr>
              <a:pPr>
                <a:defRPr/>
              </a:pPr>
              <a:t>2025-09-17</a:t>
            </a:fld>
            <a:endParaRPr lang="sv-SE" altLang="sv-SE">
              <a:solidFill>
                <a:prstClr val="black"/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26C9195-957A-DE4F-9E96-B511971F7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prstClr val="black"/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6815F99-061A-264C-A5EC-403048D79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68D89D-F7AB-6445-B15C-5A2C7BB1DB3A}" type="slidenum">
              <a:rPr lang="sv-SE" altLang="sv-S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sv-SE" alt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803215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4F4FF-7F51-4463-87A9-CE523B1F90BB}"/>
              </a:ext>
            </a:extLst>
          </p:cNvPr>
          <p:cNvSpPr txBox="1">
            <a:spLocks/>
          </p:cNvSpPr>
          <p:nvPr userDrawn="1"/>
        </p:nvSpPr>
        <p:spPr>
          <a:xfrm>
            <a:off x="398680" y="6375161"/>
            <a:ext cx="954207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STRICTLY PRIVATE </a:t>
            </a:r>
            <a:br>
              <a:rPr lang="en-GB" sz="600" b="0" i="0" spc="0" baseline="0">
                <a:solidFill>
                  <a:schemeClr val="bg1"/>
                </a:solidFill>
                <a:latin typeface="+mn-lt"/>
              </a:rPr>
            </a:br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AND CONFIDENTIAL</a:t>
            </a:r>
          </a:p>
        </p:txBody>
      </p:sp>
      <p:pic>
        <p:nvPicPr>
          <p:cNvPr id="28" name="Picture 27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1F445C1F-7844-488F-A471-4F655E7365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1355" y="5964318"/>
            <a:ext cx="1068854" cy="387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718516061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5" y="726018"/>
            <a:ext cx="9146338" cy="119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0" y="1889225"/>
            <a:ext cx="9145108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449263" indent="-225425">
              <a:buClr>
                <a:schemeClr val="accent3"/>
              </a:buClr>
              <a:buFont typeface="+mj-lt"/>
              <a:buAutoNum type="alphaLcParenR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9145108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125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1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982876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63400198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02809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35450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2611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0696963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2766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0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3988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3548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3864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7000">
                <a:schemeClr val="accent3">
                  <a:lumMod val="20000"/>
                  <a:lumOff val="80000"/>
                  <a:alpha val="0"/>
                </a:schemeClr>
              </a:gs>
              <a:gs pos="100000">
                <a:schemeClr val="accent2"/>
              </a:gs>
              <a:gs pos="97000">
                <a:schemeClr val="accent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sz="12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79EF9439-E24F-4889-8243-89125662988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7029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2867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421088"/>
          </a:xfrm>
        </p:spPr>
        <p:txBody>
          <a:bodyPr/>
          <a:lstStyle>
            <a:lvl1pPr>
              <a:defRPr sz="3733">
                <a:latin typeface="+mn-lt"/>
                <a:cs typeface="Arial"/>
              </a:defRPr>
            </a:lvl1pPr>
            <a:lvl2pPr>
              <a:defRPr sz="3200">
                <a:latin typeface="+mn-lt"/>
                <a:cs typeface="Arial"/>
              </a:defRPr>
            </a:lvl2pPr>
            <a:lvl3pPr>
              <a:defRPr sz="2667">
                <a:latin typeface="+mn-lt"/>
                <a:cs typeface="Arial"/>
              </a:defRPr>
            </a:lvl3pPr>
            <a:lvl4pPr>
              <a:defRPr sz="2400">
                <a:latin typeface="+mn-lt"/>
                <a:cs typeface="Arial"/>
              </a:defRPr>
            </a:lvl4pPr>
            <a:lvl5pPr>
              <a:defRPr sz="2400">
                <a:latin typeface="+mn-lt"/>
                <a:cs typeface="Arial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421088"/>
          </a:xfrm>
        </p:spPr>
        <p:txBody>
          <a:bodyPr/>
          <a:lstStyle>
            <a:lvl1pPr>
              <a:defRPr sz="3733">
                <a:latin typeface="+mn-lt"/>
                <a:cs typeface="Arial"/>
              </a:defRPr>
            </a:lvl1pPr>
            <a:lvl2pPr>
              <a:defRPr sz="3200">
                <a:latin typeface="+mn-lt"/>
                <a:cs typeface="Arial"/>
              </a:defRPr>
            </a:lvl2pPr>
            <a:lvl3pPr>
              <a:defRPr sz="2667">
                <a:latin typeface="+mn-lt"/>
                <a:cs typeface="Arial"/>
              </a:defRPr>
            </a:lvl3pPr>
            <a:lvl4pPr>
              <a:defRPr sz="2400">
                <a:latin typeface="+mn-lt"/>
                <a:cs typeface="Arial"/>
              </a:defRPr>
            </a:lvl4pPr>
            <a:lvl5pPr>
              <a:defRPr sz="2400">
                <a:latin typeface="+mn-lt"/>
                <a:cs typeface="Arial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F7DEA345-835E-E141-A2B1-CB4BB8FE13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10ECE4-0BE5-F749-9776-B0A18DA55F04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028AC3F7-94A7-C149-870B-AA151E81E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7FFC1A0B-884A-A346-B83B-F1D83FE74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09CF06-2C7E-4E49-AF17-25EE8345C792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7842511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4">
            <a:extLst>
              <a:ext uri="{FF2B5EF4-FFF2-40B4-BE49-F238E27FC236}">
                <a16:creationId xmlns:a16="http://schemas.microsoft.com/office/drawing/2014/main" id="{6BA16CBF-BD41-5645-862E-D184EA9FD1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60960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latshållare för bild 4">
            <a:extLst>
              <a:ext uri="{FF2B5EF4-FFF2-40B4-BE49-F238E27FC236}">
                <a16:creationId xmlns:a16="http://schemas.microsoft.com/office/drawing/2014/main" id="{EECF1713-688C-4248-83F6-22EFD06925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79372" y="0"/>
            <a:ext cx="6112628" cy="68580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1537999"/>
            <a:ext cx="4970277" cy="2387600"/>
          </a:xfrm>
          <a:noFill/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4" y="4017674"/>
            <a:ext cx="4970277" cy="1207468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7815D73E-369E-554D-803B-6D151BFEE5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50120" y="1538000"/>
            <a:ext cx="4954505" cy="2387599"/>
          </a:xfrm>
        </p:spPr>
        <p:txBody>
          <a:bodyPr anchor="b">
            <a:noAutofit/>
          </a:bodyPr>
          <a:lstStyle>
            <a:lvl1pPr marL="0" indent="0" algn="ctr">
              <a:buFontTx/>
              <a:buNone/>
              <a:defRPr sz="4000" b="0" i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4572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9144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3pPr>
            <a:lvl4pPr marL="13716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4pPr>
            <a:lvl5pPr marL="18288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5pPr>
          </a:lstStyle>
          <a:p>
            <a:pPr lvl="0"/>
            <a:r>
              <a:rPr lang="sv-SE"/>
              <a:t>Klicka här för att lägga till rubrik</a:t>
            </a:r>
          </a:p>
        </p:txBody>
      </p:sp>
      <p:sp>
        <p:nvSpPr>
          <p:cNvPr id="17" name="Platshållare för text 16">
            <a:extLst>
              <a:ext uri="{FF2B5EF4-FFF2-40B4-BE49-F238E27FC236}">
                <a16:creationId xmlns:a16="http://schemas.microsoft.com/office/drawing/2014/main" id="{F70CA0D5-6D60-A74F-877F-C61BBE95CF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0120" y="4017674"/>
            <a:ext cx="4954505" cy="120746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13" name="Bildobjekt 7">
            <a:extLst>
              <a:ext uri="{FF2B5EF4-FFF2-40B4-BE49-F238E27FC236}">
                <a16:creationId xmlns:a16="http://schemas.microsoft.com/office/drawing/2014/main" id="{FEB07949-EEA5-5245-8BAA-5C38603E7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890471127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593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24907333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4120931514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1864900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4340673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770720397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145FA8A-0666-8D4E-B86A-CE37DB95B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19910297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ta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729280164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FD345CC0-82DA-7048-839A-198E806AE62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317" y="1797323"/>
            <a:ext cx="11182701" cy="528177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algn="ctr">
              <a:lnSpc>
                <a:spcPts val="5065"/>
              </a:lnSpc>
              <a:defRPr sz="5332" spc="67" baseline="0">
                <a:solidFill>
                  <a:schemeClr val="bg1"/>
                </a:solidFill>
                <a:latin typeface="Volvo Broad Pro" panose="02000606020000020004" pitchFamily="2" charset="0"/>
              </a:defRPr>
            </a:lvl1pPr>
            <a:lvl2pPr algn="ctr">
              <a:defRPr sz="4399">
                <a:latin typeface="Volvo Broad Pro" panose="02000606020000020004" pitchFamily="2" charset="0"/>
              </a:defRPr>
            </a:lvl2pPr>
          </a:lstStyle>
          <a:p>
            <a:pPr lvl="0"/>
            <a:r>
              <a:rPr lang="en-GB" noProof="0"/>
              <a:t>Click to add presentation 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81C2980-6720-467B-A58D-ADD7C7E48A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0100" y="606421"/>
            <a:ext cx="5423136" cy="423052"/>
          </a:xfrm>
        </p:spPr>
        <p:txBody>
          <a:bodyPr>
            <a:noAutofit/>
          </a:bodyPr>
          <a:lstStyle>
            <a:lvl1pPr algn="ctr">
              <a:defRPr sz="1333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pPr lvl="0"/>
            <a:r>
              <a:rPr lang="en-GB"/>
              <a:t>Please note: Logo must be visible on every page</a:t>
            </a:r>
            <a:br>
              <a:rPr lang="en-GB"/>
            </a:br>
            <a:r>
              <a:rPr lang="en-GB"/>
              <a:t>Use only one (1) title page per presentation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3A38195-82B8-4C83-9B43-4A71EC21A1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317" y="5876170"/>
            <a:ext cx="11182701" cy="232813"/>
          </a:xfrm>
        </p:spPr>
        <p:txBody>
          <a:bodyPr anchor="b" anchorCtr="0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599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tabLst/>
              <a:defRPr sz="1599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599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599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599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599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599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599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599"/>
            </a:lvl9pPr>
          </a:lstStyle>
          <a:p>
            <a:pPr lvl="0"/>
            <a:r>
              <a:rPr lang="en-GB" noProof="0"/>
              <a:t>Click to add Presenter name, Security Class: Proprietary, Confidential or Publ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F2615E8-A893-4A16-94F4-6A82C28D5C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317" y="1129833"/>
            <a:ext cx="11182701" cy="23281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333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r>
              <a:rPr lang="en-GB"/>
              <a:t>Please note: Dark theme layout preferred for large audience 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7D235309-3CC6-0C45-9F12-63706F2CF562}"/>
              </a:ext>
            </a:extLst>
          </p:cNvPr>
          <p:cNvSpPr txBox="1"/>
          <p:nvPr userDrawn="1"/>
        </p:nvSpPr>
        <p:spPr>
          <a:xfrm>
            <a:off x="4104130" y="135354"/>
            <a:ext cx="3935071" cy="3839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20000"/>
              </a:lnSpc>
            </a:pPr>
            <a:r>
              <a:rPr lang="sv-SE" sz="1333">
                <a:solidFill>
                  <a:schemeClr val="bg1"/>
                </a:solidFill>
                <a:latin typeface="Volvo Novum Light" panose="020B0303040502060204" pitchFamily="34" charset="77"/>
              </a:rPr>
              <a:t>VOLVO CAR RETAIL SOLUTIONS</a:t>
            </a:r>
          </a:p>
        </p:txBody>
      </p:sp>
    </p:spTree>
    <p:extLst>
      <p:ext uri="{BB962C8B-B14F-4D97-AF65-F5344CB8AC3E}">
        <p14:creationId xmlns:p14="http://schemas.microsoft.com/office/powerpoint/2010/main" val="265639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E952C3B-5206-E148-92F9-5E5B1D72E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318" y="1077464"/>
            <a:ext cx="11182700" cy="431254"/>
          </a:xfrm>
          <a:prstGeom prst="rect">
            <a:avLst/>
          </a:prstGeom>
        </p:spPr>
        <p:txBody>
          <a:bodyPr anchor="b" anchorCtr="0"/>
          <a:lstStyle>
            <a:lvl1pPr algn="l">
              <a:defRPr sz="3200"/>
            </a:lvl1pPr>
          </a:lstStyle>
          <a:p>
            <a:r>
              <a:rPr lang="en-GB" noProof="0"/>
              <a:t>Click to add heading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CDC3E0F-7862-2B4B-826D-899D1A6489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325" y="1796495"/>
            <a:ext cx="5422125" cy="460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66"/>
            </a:lvl1pPr>
            <a:lvl2pPr>
              <a:defRPr sz="1866"/>
            </a:lvl2pPr>
            <a:lvl3pPr>
              <a:defRPr sz="1599"/>
            </a:lvl3pPr>
            <a:lvl4pPr>
              <a:defRPr sz="1466"/>
            </a:lvl4pPr>
            <a:lvl5pPr>
              <a:defRPr sz="1333"/>
            </a:lvl5pPr>
            <a:lvl6pPr>
              <a:defRPr sz="1200"/>
            </a:lvl6pPr>
            <a:lvl7pPr>
              <a:defRPr sz="1066"/>
            </a:lvl7pPr>
            <a:lvl8pPr>
              <a:defRPr sz="1066"/>
            </a:lvl8pPr>
            <a:lvl9pPr>
              <a:defRPr sz="1066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First bullets</a:t>
            </a:r>
          </a:p>
          <a:p>
            <a:pPr lvl="2"/>
            <a:r>
              <a:rPr lang="en-GB" noProof="0"/>
              <a:t>Second bullets</a:t>
            </a:r>
          </a:p>
          <a:p>
            <a:pPr lvl="3"/>
            <a:r>
              <a:rPr lang="en-GB" noProof="0"/>
              <a:t>Third bullets</a:t>
            </a:r>
          </a:p>
          <a:p>
            <a:pPr lvl="4"/>
            <a:r>
              <a:rPr lang="en-GB" noProof="0"/>
              <a:t>Fourth bullets</a:t>
            </a:r>
          </a:p>
          <a:p>
            <a:pPr lvl="5"/>
            <a:r>
              <a:rPr lang="en-GB" noProof="0"/>
              <a:t>Fifth bullets</a:t>
            </a:r>
          </a:p>
          <a:p>
            <a:pPr lvl="6"/>
            <a:r>
              <a:rPr lang="en-GB" noProof="0"/>
              <a:t>Sixth bullets</a:t>
            </a:r>
          </a:p>
          <a:p>
            <a:pPr lvl="7"/>
            <a:r>
              <a:rPr lang="en-GB" noProof="0"/>
              <a:t>Seventh bullets</a:t>
            </a:r>
          </a:p>
          <a:p>
            <a:pPr lvl="8"/>
            <a:r>
              <a:rPr lang="en-GB" noProof="0"/>
              <a:t>Eighth bulle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3789464-41F1-934D-8ABD-3A7B7811D112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6240892" y="1796495"/>
            <a:ext cx="5422125" cy="4608678"/>
          </a:xfrm>
          <a:solidFill>
            <a:schemeClr val="bg1">
              <a:lumMod val="85000"/>
            </a:schemeClr>
          </a:solidFill>
        </p:spPr>
        <p:txBody>
          <a:bodyPr tIns="1044000" anchor="ctr" anchorCtr="1">
            <a:normAutofit/>
          </a:bodyPr>
          <a:lstStyle>
            <a:lvl1pPr>
              <a:defRPr sz="1200" i="1"/>
            </a:lvl1pPr>
            <a:lvl2pPr>
              <a:defRPr sz="1866"/>
            </a:lvl2pPr>
            <a:lvl3pPr>
              <a:defRPr sz="1599"/>
            </a:lvl3pPr>
            <a:lvl4pPr>
              <a:defRPr sz="1466"/>
            </a:lvl4pPr>
            <a:lvl5pPr>
              <a:defRPr sz="1333"/>
            </a:lvl5pPr>
            <a:lvl6pPr>
              <a:defRPr sz="1200"/>
            </a:lvl6pPr>
            <a:lvl7pPr>
              <a:defRPr sz="1066"/>
            </a:lvl7pPr>
            <a:lvl8pPr>
              <a:defRPr sz="1066"/>
            </a:lvl8pPr>
            <a:lvl9pPr>
              <a:defRPr sz="1066"/>
            </a:lvl9pPr>
          </a:lstStyle>
          <a:p>
            <a:pPr lvl="0"/>
            <a:r>
              <a:rPr lang="en-GB" noProof="0"/>
              <a:t>Click to add image, graph or other media</a:t>
            </a:r>
          </a:p>
        </p:txBody>
      </p: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8C1C0756-99BC-454C-8ECE-5EF7112E5C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80317" y="6556734"/>
            <a:ext cx="624199" cy="13621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0581" indent="0" algn="l">
              <a:tabLst/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YYYY.MM.DD</a:t>
            </a:r>
            <a:endParaRPr lang="en-GB"/>
          </a:p>
        </p:txBody>
      </p:sp>
      <p:sp>
        <p:nvSpPr>
          <p:cNvPr id="16" name="Footer Placeholder 8">
            <a:extLst>
              <a:ext uri="{FF2B5EF4-FFF2-40B4-BE49-F238E27FC236}">
                <a16:creationId xmlns:a16="http://schemas.microsoft.com/office/drawing/2014/main" id="{EFE7565D-E88C-4DA2-A597-30B9638173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41098" y="6554412"/>
            <a:ext cx="4462352" cy="13853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Presentation title, Name, Security class: Proprietary</a:t>
            </a:r>
            <a:endParaRPr lang="en-GB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3A094260-F17A-4C78-8064-55E63058F9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2068" y="6556734"/>
            <a:ext cx="481208" cy="136217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968DB37-2BF7-4219-83AC-BFED0C9E87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317" y="606422"/>
            <a:ext cx="11182701" cy="23281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333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r>
              <a:rPr lang="en-GB"/>
              <a:t>Please note: Dark theme layout preferred for large audience 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30254864-D963-AE47-AA07-A2396B9B37EC}"/>
              </a:ext>
            </a:extLst>
          </p:cNvPr>
          <p:cNvSpPr txBox="1"/>
          <p:nvPr userDrawn="1"/>
        </p:nvSpPr>
        <p:spPr>
          <a:xfrm>
            <a:off x="4104130" y="135354"/>
            <a:ext cx="3935071" cy="3839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20000"/>
              </a:lnSpc>
            </a:pPr>
            <a:r>
              <a:rPr lang="sv-SE" sz="1333">
                <a:solidFill>
                  <a:schemeClr val="bg1"/>
                </a:solidFill>
                <a:latin typeface="Volvo Novum Light" panose="020B0303040502060204" pitchFamily="34" charset="77"/>
              </a:rPr>
              <a:t>VOLVO CAR RETAIL SOLUTIONS</a:t>
            </a:r>
          </a:p>
        </p:txBody>
      </p:sp>
    </p:spTree>
    <p:extLst>
      <p:ext uri="{BB962C8B-B14F-4D97-AF65-F5344CB8AC3E}">
        <p14:creationId xmlns:p14="http://schemas.microsoft.com/office/powerpoint/2010/main" val="3494652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00103" y="1122363"/>
            <a:ext cx="7444159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0103" y="3602038"/>
            <a:ext cx="7444159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1320964-4081-1448-BF40-743591BA68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795380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885DC9-6B32-4D57-A7C4-86285ACDBB1C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480318" y="1796497"/>
            <a:ext cx="7342284" cy="4608677"/>
          </a:xfrm>
          <a:solidFill>
            <a:schemeClr val="bg1">
              <a:lumMod val="85000"/>
            </a:schemeClr>
          </a:solidFill>
        </p:spPr>
        <p:txBody>
          <a:bodyPr tIns="1044000" anchor="ctr" anchorCtr="1">
            <a:normAutofit/>
          </a:bodyPr>
          <a:lstStyle>
            <a:lvl1pPr>
              <a:defRPr sz="1200" i="1"/>
            </a:lvl1pPr>
          </a:lstStyle>
          <a:p>
            <a:pPr lvl="0"/>
            <a:r>
              <a:rPr lang="en-GB" noProof="0"/>
              <a:t>Click to add image, graph or other media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0FB03BE-D89D-A34A-8104-C71D377095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59035" y="1796497"/>
            <a:ext cx="3503983" cy="46086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66"/>
            </a:lvl1pPr>
            <a:lvl2pPr>
              <a:defRPr sz="1866"/>
            </a:lvl2pPr>
            <a:lvl3pPr>
              <a:defRPr sz="1599"/>
            </a:lvl3pPr>
            <a:lvl4pPr>
              <a:defRPr sz="1466"/>
            </a:lvl4pPr>
            <a:lvl5pPr>
              <a:defRPr sz="1333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First bullets</a:t>
            </a:r>
          </a:p>
          <a:p>
            <a:pPr lvl="2"/>
            <a:r>
              <a:rPr lang="en-GB" noProof="0"/>
              <a:t>Second bullets</a:t>
            </a:r>
          </a:p>
          <a:p>
            <a:pPr lvl="3"/>
            <a:r>
              <a:rPr lang="en-GB" noProof="0"/>
              <a:t>Third bullets</a:t>
            </a:r>
          </a:p>
          <a:p>
            <a:pPr lvl="4"/>
            <a:r>
              <a:rPr lang="en-GB" noProof="0"/>
              <a:t>Fourth bullets</a:t>
            </a:r>
          </a:p>
          <a:p>
            <a:pPr lvl="5"/>
            <a:r>
              <a:rPr lang="en-GB" noProof="0"/>
              <a:t>Fifth bullets</a:t>
            </a:r>
          </a:p>
          <a:p>
            <a:pPr lvl="6"/>
            <a:r>
              <a:rPr lang="en-GB" noProof="0"/>
              <a:t>Sixth bullets</a:t>
            </a:r>
          </a:p>
          <a:p>
            <a:pPr lvl="7"/>
            <a:r>
              <a:rPr lang="en-GB" noProof="0"/>
              <a:t>Seventh bullets</a:t>
            </a:r>
          </a:p>
          <a:p>
            <a:pPr lvl="8"/>
            <a:r>
              <a:rPr lang="en-GB" noProof="0"/>
              <a:t>Eighth bullets</a:t>
            </a:r>
          </a:p>
        </p:txBody>
      </p:sp>
      <p:sp>
        <p:nvSpPr>
          <p:cNvPr id="12" name="Title Placeholder 10">
            <a:extLst>
              <a:ext uri="{FF2B5EF4-FFF2-40B4-BE49-F238E27FC236}">
                <a16:creationId xmlns:a16="http://schemas.microsoft.com/office/drawing/2014/main" id="{78C2355D-A248-4789-AF51-E9064DBB7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18" y="1077464"/>
            <a:ext cx="11182958" cy="43125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algn="l"/>
            <a:r>
              <a:rPr lang="en-GB" noProof="0"/>
              <a:t>Click to add heading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EBCC21B6-BCFA-477F-BE3C-354DAEB6DC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80317" y="6556734"/>
            <a:ext cx="624199" cy="13621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0581" indent="0" algn="l">
              <a:tabLst/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YYYY.MM.DD</a:t>
            </a:r>
            <a:endParaRPr lang="en-GB"/>
          </a:p>
        </p:txBody>
      </p:sp>
      <p:sp>
        <p:nvSpPr>
          <p:cNvPr id="18" name="Footer Placeholder 8">
            <a:extLst>
              <a:ext uri="{FF2B5EF4-FFF2-40B4-BE49-F238E27FC236}">
                <a16:creationId xmlns:a16="http://schemas.microsoft.com/office/drawing/2014/main" id="{34C5C430-CD0E-4A41-9601-B8CB63E400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41098" y="6554412"/>
            <a:ext cx="4462352" cy="13853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Presentation title, Name, Security class: Proprietary</a:t>
            </a:r>
            <a:endParaRPr lang="en-GB"/>
          </a:p>
        </p:txBody>
      </p:sp>
      <p:sp>
        <p:nvSpPr>
          <p:cNvPr id="19" name="Slide Number Placeholder 9">
            <a:extLst>
              <a:ext uri="{FF2B5EF4-FFF2-40B4-BE49-F238E27FC236}">
                <a16:creationId xmlns:a16="http://schemas.microsoft.com/office/drawing/2014/main" id="{A6FF38EF-AFEB-4459-8B10-B7A41ACE0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2068" y="6556734"/>
            <a:ext cx="481208" cy="136217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E12E78B-5838-4C29-9B12-B668749DF4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317" y="606422"/>
            <a:ext cx="11182701" cy="23281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333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r>
              <a:rPr lang="en-GB"/>
              <a:t>Please note: Dark theme layout preferred for large audience 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CE22FC79-1428-2D4E-AD61-54365EF551F2}"/>
              </a:ext>
            </a:extLst>
          </p:cNvPr>
          <p:cNvSpPr txBox="1"/>
          <p:nvPr userDrawn="1"/>
        </p:nvSpPr>
        <p:spPr>
          <a:xfrm>
            <a:off x="4104130" y="135354"/>
            <a:ext cx="3935071" cy="3839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20000"/>
              </a:lnSpc>
            </a:pPr>
            <a:r>
              <a:rPr lang="sv-SE" sz="1333">
                <a:solidFill>
                  <a:schemeClr val="bg1"/>
                </a:solidFill>
                <a:latin typeface="Volvo Novum Light" panose="020B0303040502060204" pitchFamily="34" charset="77"/>
              </a:rPr>
              <a:t>VOLVO CAR RETAIL SOLUTIONS</a:t>
            </a:r>
          </a:p>
        </p:txBody>
      </p:sp>
    </p:spTree>
    <p:extLst>
      <p:ext uri="{BB962C8B-B14F-4D97-AF65-F5344CB8AC3E}">
        <p14:creationId xmlns:p14="http://schemas.microsoft.com/office/powerpoint/2010/main" val="510465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CBED64D-4C42-4F41-81BC-567A17A45D8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481325" y="1796497"/>
            <a:ext cx="11181691" cy="4608677"/>
          </a:xfrm>
          <a:solidFill>
            <a:schemeClr val="bg1">
              <a:lumMod val="85000"/>
            </a:schemeClr>
          </a:solidFill>
        </p:spPr>
        <p:txBody>
          <a:bodyPr tIns="1044000" anchor="ctr" anchorCtr="1">
            <a:normAutofit/>
          </a:bodyPr>
          <a:lstStyle>
            <a:lvl1pPr>
              <a:defRPr sz="1200" i="1"/>
            </a:lvl1pPr>
          </a:lstStyle>
          <a:p>
            <a:pPr lvl="0"/>
            <a:r>
              <a:rPr lang="en-GB" noProof="0"/>
              <a:t>Click to add image, graph or other media</a:t>
            </a:r>
          </a:p>
        </p:txBody>
      </p:sp>
      <p:sp>
        <p:nvSpPr>
          <p:cNvPr id="8" name="Title Placeholder 10">
            <a:extLst>
              <a:ext uri="{FF2B5EF4-FFF2-40B4-BE49-F238E27FC236}">
                <a16:creationId xmlns:a16="http://schemas.microsoft.com/office/drawing/2014/main" id="{17A4644E-DF8A-4B31-986A-447E95D7C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18" y="1077464"/>
            <a:ext cx="11182958" cy="43125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GB" noProof="0"/>
              <a:t>Click to add heading</a:t>
            </a:r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033FDB32-D803-458A-BE25-097CD235A1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80317" y="6556734"/>
            <a:ext cx="624199" cy="13621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0581" indent="0" algn="l">
              <a:tabLst/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YYYY.MM.DD</a:t>
            </a:r>
            <a:endParaRPr lang="en-GB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800B1141-6DF8-42DD-8814-EFA95990B7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41098" y="6554412"/>
            <a:ext cx="4462352" cy="13853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Presentation title, Name, Security class: Proprietary</a:t>
            </a:r>
            <a:endParaRPr lang="en-GB"/>
          </a:p>
        </p:txBody>
      </p:sp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1645B6AB-C1E0-47AC-89E2-681C39DA8D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2068" y="6556734"/>
            <a:ext cx="481208" cy="136217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7B87D85-332A-492A-9B5F-4EB571E428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317" y="606422"/>
            <a:ext cx="11182701" cy="23281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333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r>
              <a:rPr lang="en-GB"/>
              <a:t>Please note: Dark theme layout preferred for large audience 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8A3B8AED-CA24-7F4F-B533-89CDA8937EF7}"/>
              </a:ext>
            </a:extLst>
          </p:cNvPr>
          <p:cNvSpPr txBox="1"/>
          <p:nvPr userDrawn="1"/>
        </p:nvSpPr>
        <p:spPr>
          <a:xfrm>
            <a:off x="4104130" y="135354"/>
            <a:ext cx="3935071" cy="3839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20000"/>
              </a:lnSpc>
            </a:pPr>
            <a:r>
              <a:rPr lang="sv-SE" sz="1333">
                <a:solidFill>
                  <a:schemeClr val="bg1"/>
                </a:solidFill>
                <a:latin typeface="Volvo Novum Light" panose="020B0303040502060204" pitchFamily="34" charset="77"/>
              </a:rPr>
              <a:t>VOLVO CAR RETAIL SOLUTIONS</a:t>
            </a:r>
          </a:p>
        </p:txBody>
      </p:sp>
    </p:spTree>
    <p:extLst>
      <p:ext uri="{BB962C8B-B14F-4D97-AF65-F5344CB8AC3E}">
        <p14:creationId xmlns:p14="http://schemas.microsoft.com/office/powerpoint/2010/main" val="381830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27D48FC-B2F0-F949-B048-DCB0A0ADEC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318" y="5061504"/>
            <a:ext cx="11182700" cy="526888"/>
          </a:xfrm>
        </p:spPr>
        <p:txBody>
          <a:bodyPr anchor="t" anchorCtr="0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3199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  <a:lvl2pPr marL="0" indent="0" algn="ctr">
              <a:spcAft>
                <a:spcPts val="0"/>
              </a:spcAft>
              <a:buFontTx/>
              <a:buNone/>
              <a:defRPr sz="3199" b="0" i="0"/>
            </a:lvl2pPr>
            <a:lvl3pPr marL="0" indent="0" algn="ctr">
              <a:spcAft>
                <a:spcPts val="0"/>
              </a:spcAft>
              <a:buFontTx/>
              <a:buNone/>
              <a:defRPr sz="3199" b="0" i="0"/>
            </a:lvl3pPr>
            <a:lvl4pPr marL="0" indent="0" algn="ctr">
              <a:spcAft>
                <a:spcPts val="0"/>
              </a:spcAft>
              <a:buFontTx/>
              <a:buNone/>
              <a:defRPr sz="3199" b="0" i="0"/>
            </a:lvl4pPr>
            <a:lvl5pPr marL="0" indent="0" algn="ctr">
              <a:spcAft>
                <a:spcPts val="0"/>
              </a:spcAft>
              <a:buFontTx/>
              <a:buNone/>
              <a:defRPr sz="3199" b="0" i="0"/>
            </a:lvl5pPr>
            <a:lvl6pPr marL="0" indent="0" algn="ctr">
              <a:spcAft>
                <a:spcPts val="0"/>
              </a:spcAft>
              <a:buFontTx/>
              <a:buNone/>
              <a:defRPr sz="3199" b="0" i="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3199" b="0" i="0">
                <a:latin typeface="Volvo Novum Light" panose="020B0303040502060204" pitchFamily="34" charset="77"/>
              </a:defRPr>
            </a:lvl7pPr>
            <a:lvl8pPr marL="0" indent="0" algn="ctr">
              <a:spcAft>
                <a:spcPts val="0"/>
              </a:spcAft>
              <a:buFontTx/>
              <a:buNone/>
              <a:defRPr sz="3199" b="0" i="0"/>
            </a:lvl8pPr>
            <a:lvl9pPr marL="0" indent="0" algn="ctr">
              <a:spcAft>
                <a:spcPts val="0"/>
              </a:spcAft>
              <a:buFontTx/>
              <a:buNone/>
              <a:defRPr sz="3199" b="0" i="0"/>
            </a:lvl9pPr>
          </a:lstStyle>
          <a:p>
            <a:pPr lvl="0"/>
            <a:r>
              <a:rPr lang="en-GB" noProof="0"/>
              <a:t>Click to add Thank you.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8281502-5A4C-4D1B-A3AD-B83B23364C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317" y="606422"/>
            <a:ext cx="11182701" cy="23281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333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333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r>
              <a:rPr lang="en-GB"/>
              <a:t>Please note: Dark theme layout preferred for large audience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4F95CD-CC2B-A04F-823A-92AA1CDB8C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9359" y="2757132"/>
            <a:ext cx="4852947" cy="1480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395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 9">
            <a:extLst>
              <a:ext uri="{FF2B5EF4-FFF2-40B4-BE49-F238E27FC236}">
                <a16:creationId xmlns:a16="http://schemas.microsoft.com/office/drawing/2014/main" id="{EFCACE07-956B-DE4E-8532-336AFEAE8B44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11" name="Ring 4">
              <a:extLst>
                <a:ext uri="{FF2B5EF4-FFF2-40B4-BE49-F238E27FC236}">
                  <a16:creationId xmlns:a16="http://schemas.microsoft.com/office/drawing/2014/main" id="{B8E967A4-DADC-3E4A-95B8-DF99089FC0A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12" name="Ellips 11">
              <a:extLst>
                <a:ext uri="{FF2B5EF4-FFF2-40B4-BE49-F238E27FC236}">
                  <a16:creationId xmlns:a16="http://schemas.microsoft.com/office/drawing/2014/main" id="{678B354B-7A2F-4E48-BB9C-0F8ACDEF70F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5" name="Underrubrik 2">
            <a:extLst>
              <a:ext uri="{FF2B5EF4-FFF2-40B4-BE49-F238E27FC236}">
                <a16:creationId xmlns:a16="http://schemas.microsoft.com/office/drawing/2014/main" id="{BD97D1C1-D36F-8F4F-914B-341344CF9E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lägga till text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7B5DA94A-F30D-244C-813C-658E94EBA0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" panose="02000000000000000000" pitchFamily="2" charset="0"/>
              </a:defRPr>
            </a:lvl1pPr>
          </a:lstStyle>
          <a:p>
            <a:r>
              <a:rPr lang="sv-SE" dirty="0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3093358475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82BC053C-D500-6E4E-946E-BAFA77ABE382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5891384B-1A12-6B4F-B1FA-E0D1984E3186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2F19A5B1-0E9C-9149-9934-65AF9D755C3E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113B8F87-E64E-D64E-8C9E-629038CB93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15355E33-7494-8C4D-A71A-E2AD03A563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" panose="02000000000000000000" pitchFamily="2" charset="0"/>
              </a:defRPr>
            </a:lvl1pPr>
          </a:lstStyle>
          <a:p>
            <a:r>
              <a:rPr lang="sv-SE" dirty="0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666159140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5302F078-BE45-3145-B850-5BC13A9F6C63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40E5CA66-D517-A948-87E3-73DFBB808A23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D20F5BB2-19D2-2049-9339-942F04AF0CE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A75EC33D-1C3E-3549-B0A7-097B3FAD3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496D2246-8399-B14F-A1B8-831C68338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" panose="02000000000000000000" pitchFamily="2" charset="0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1826370552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8D05E976-6423-7649-B53E-5E4EE6A0B2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 dirty="0"/>
              <a:t>Klicka här för att lägga till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53177219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D1DF3290-7E87-D042-8600-6C90E67483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 dirty="0"/>
              <a:t>Klicka här för att lägga till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877088122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2D57B853-D9D7-D642-B60A-A9D1EA0D60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 dirty="0"/>
              <a:t>Klicka här för att lägga till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592760573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F695FD39-09EB-5141-987E-926403F73A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 dirty="0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7359522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1978" y="1122363"/>
            <a:ext cx="743228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1978" y="3602038"/>
            <a:ext cx="743228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487CBC6-072B-D045-A504-FD96A2E557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946074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A9C8DB5A-A3A1-D943-A9BD-2CF3CEA671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 dirty="0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395172948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5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C86458F5-1D19-2346-953B-712F37848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 dirty="0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843386538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679EE11F-D1FA-F645-8C83-9F09C99400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 dirty="0"/>
              <a:t>Klicka här för att lägga till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03A3EFB-65CB-0C4B-BD8E-90DFF19E34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9" y="2406650"/>
            <a:ext cx="5329236" cy="3956050"/>
          </a:xfrm>
        </p:spPr>
        <p:txBody>
          <a:bodyPr/>
          <a:lstStyle/>
          <a:p>
            <a:pPr lvl="0"/>
            <a:r>
              <a:rPr lang="sv-SE" dirty="0"/>
              <a:t>Klicka här för att lägga till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071545432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D9B8C736-831B-974C-AEF8-21F72B3C1A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 dirty="0"/>
              <a:t>Klicka här för att lägga till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2CE8D85-99BE-D049-8416-39B6EA39E8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8" cy="3956050"/>
          </a:xfrm>
        </p:spPr>
        <p:txBody>
          <a:bodyPr/>
          <a:lstStyle/>
          <a:p>
            <a:pPr lvl="0"/>
            <a:r>
              <a:rPr lang="sv-SE" dirty="0"/>
              <a:t>Klicka här för att lägga till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7441398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73914054-D189-3E43-A14D-D460C1A0E6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 dirty="0"/>
              <a:t>Klicka här för att lägga till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7656B429-34E8-4B42-A15B-75A2C179BD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7" cy="3956050"/>
          </a:xfrm>
        </p:spPr>
        <p:txBody>
          <a:bodyPr/>
          <a:lstStyle/>
          <a:p>
            <a:pPr lvl="0"/>
            <a:r>
              <a:rPr lang="sv-SE" dirty="0"/>
              <a:t>Klicka här för att lägga till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734093844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 dirty="0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 dirty="0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789784625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 dirty="0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 dirty="0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755354509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 dirty="0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 dirty="0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705884075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4">
            <a:extLst>
              <a:ext uri="{FF2B5EF4-FFF2-40B4-BE49-F238E27FC236}">
                <a16:creationId xmlns:a16="http://schemas.microsoft.com/office/drawing/2014/main" id="{6BA16CBF-BD41-5645-862E-D184EA9FD1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60960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10" name="Platshållare för bild 4">
            <a:extLst>
              <a:ext uri="{FF2B5EF4-FFF2-40B4-BE49-F238E27FC236}">
                <a16:creationId xmlns:a16="http://schemas.microsoft.com/office/drawing/2014/main" id="{EECF1713-688C-4248-83F6-22EFD06925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79372" y="0"/>
            <a:ext cx="6112628" cy="68580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1537999"/>
            <a:ext cx="4970277" cy="2387600"/>
          </a:xfrm>
          <a:noFill/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4" y="4017674"/>
            <a:ext cx="4970277" cy="1207468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lägga till text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7815D73E-369E-554D-803B-6D151BFEE5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50120" y="1538000"/>
            <a:ext cx="4954505" cy="2387599"/>
          </a:xfrm>
        </p:spPr>
        <p:txBody>
          <a:bodyPr anchor="b">
            <a:noAutofit/>
          </a:bodyPr>
          <a:lstStyle>
            <a:lvl1pPr marL="0" indent="0" algn="ctr">
              <a:buFontTx/>
              <a:buNone/>
              <a:defRPr sz="40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FontTx/>
              <a:buNone/>
              <a:defRPr sz="4000" b="0" i="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>
              <a:buFontTx/>
              <a:buNone/>
              <a:defRPr sz="4000" b="0" i="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>
              <a:buFontTx/>
              <a:buNone/>
              <a:defRPr sz="4000" b="0" i="0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>
              <a:buFontTx/>
              <a:buNone/>
              <a:defRPr sz="4000" b="0" i="0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sv-SE" dirty="0"/>
              <a:t>Klicka här för att lägga till rubrik</a:t>
            </a:r>
          </a:p>
        </p:txBody>
      </p:sp>
      <p:sp>
        <p:nvSpPr>
          <p:cNvPr id="17" name="Platshållare för text 16">
            <a:extLst>
              <a:ext uri="{FF2B5EF4-FFF2-40B4-BE49-F238E27FC236}">
                <a16:creationId xmlns:a16="http://schemas.microsoft.com/office/drawing/2014/main" id="{F70CA0D5-6D60-A74F-877F-C61BBE95CF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0120" y="4017674"/>
            <a:ext cx="4954505" cy="120746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text</a:t>
            </a:r>
          </a:p>
        </p:txBody>
      </p:sp>
      <p:pic>
        <p:nvPicPr>
          <p:cNvPr id="13" name="Bildobjekt 7">
            <a:extLst>
              <a:ext uri="{FF2B5EF4-FFF2-40B4-BE49-F238E27FC236}">
                <a16:creationId xmlns:a16="http://schemas.microsoft.com/office/drawing/2014/main" id="{FEB07949-EEA5-5245-8BAA-5C38603E7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372372005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00103" y="1122363"/>
            <a:ext cx="7444159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0103" y="3602038"/>
            <a:ext cx="7444159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lägga till text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1320964-4081-1448-BF40-743591BA68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4874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35730" y="1122363"/>
            <a:ext cx="7408532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5730" y="3602038"/>
            <a:ext cx="7408532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F4A4C896-EFA4-2448-A824-78C1CD5B81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50231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1978" y="1122363"/>
            <a:ext cx="743228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1978" y="3602038"/>
            <a:ext cx="743228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lägga till text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487CBC6-072B-D045-A504-FD96A2E557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746930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35730" y="1122363"/>
            <a:ext cx="7408532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5730" y="3602038"/>
            <a:ext cx="7408532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lägga till text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F4A4C896-EFA4-2448-A824-78C1CD5B81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111254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F3C90D6-809C-4544-995A-25961A838C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 dirty="0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C0F15878-E6A1-0741-AC27-B0ED6E01008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 dirty="0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964546163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167A8DEA-2816-DA4A-B687-F08C8EC6B4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 dirty="0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F4683308-FB74-284D-B1D7-FD1B09358FE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 dirty="0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309023346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7DA8CF98-5DE0-754E-8460-2CF995C9E5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 dirty="0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A785E0B9-26B6-7C44-93E1-B991FE1F7F6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 dirty="0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845408691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örsätt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7">
            <a:extLst>
              <a:ext uri="{FF2B5EF4-FFF2-40B4-BE49-F238E27FC236}">
                <a16:creationId xmlns:a16="http://schemas.microsoft.com/office/drawing/2014/main" id="{2BE6A008-FE08-EE44-ADEF-8E288DE0D9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9732" y="2492546"/>
            <a:ext cx="5092536" cy="1981395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600873971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1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 dirty="0"/>
              <a:t>Source: 	[•]</a:t>
            </a:r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536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112E494C-8838-C749-B4BF-336611B964E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401C1C64-9FD7-AC46-AC2D-0029FD7FCF8B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Platshållare för innehåll 6">
            <a:extLst>
              <a:ext uri="{FF2B5EF4-FFF2-40B4-BE49-F238E27FC236}">
                <a16:creationId xmlns:a16="http://schemas.microsoft.com/office/drawing/2014/main" id="{36F8924E-5B08-C84D-8FD9-D2B16DB2208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87375" y="1540121"/>
            <a:ext cx="5025757" cy="2387600"/>
          </a:xfrm>
        </p:spPr>
        <p:txBody>
          <a:bodyPr anchor="b" anchorCtr="0">
            <a:normAutofit/>
          </a:bodyPr>
          <a:lstStyle>
            <a:lvl1pPr marL="0" indent="0" algn="ctr">
              <a:buFontTx/>
              <a:buNone/>
              <a:defRPr sz="4000" b="0" i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sv-SE" dirty="0"/>
              <a:t>Klicka här för att lägga till rubrik</a:t>
            </a:r>
          </a:p>
        </p:txBody>
      </p:sp>
      <p:sp>
        <p:nvSpPr>
          <p:cNvPr id="11" name="Platshållare för text 16">
            <a:extLst>
              <a:ext uri="{FF2B5EF4-FFF2-40B4-BE49-F238E27FC236}">
                <a16:creationId xmlns:a16="http://schemas.microsoft.com/office/drawing/2014/main" id="{B824B995-D5AE-E24F-9288-7185854E37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4346" y="4019797"/>
            <a:ext cx="5025945" cy="1229096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lägga till text</a:t>
            </a:r>
          </a:p>
        </p:txBody>
      </p:sp>
      <p:sp>
        <p:nvSpPr>
          <p:cNvPr id="13" name="Platshållare för innehåll 6">
            <a:extLst>
              <a:ext uri="{FF2B5EF4-FFF2-40B4-BE49-F238E27FC236}">
                <a16:creationId xmlns:a16="http://schemas.microsoft.com/office/drawing/2014/main" id="{0C3B713F-13A5-EC46-B1D8-7AB05885476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578868" y="1540121"/>
            <a:ext cx="5025757" cy="2387600"/>
          </a:xfrm>
        </p:spPr>
        <p:txBody>
          <a:bodyPr anchor="b" anchorCtr="0">
            <a:normAutofit/>
          </a:bodyPr>
          <a:lstStyle>
            <a:lvl1pPr marL="0" indent="0" algn="ctr">
              <a:buFontTx/>
              <a:buNone/>
              <a:defRPr sz="4000" b="0" i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sv-SE" dirty="0"/>
              <a:t>Klicka här för att lägga till rubrik</a:t>
            </a:r>
          </a:p>
        </p:txBody>
      </p:sp>
      <p:sp>
        <p:nvSpPr>
          <p:cNvPr id="14" name="Platshållare för text 16">
            <a:extLst>
              <a:ext uri="{FF2B5EF4-FFF2-40B4-BE49-F238E27FC236}">
                <a16:creationId xmlns:a16="http://schemas.microsoft.com/office/drawing/2014/main" id="{00DBCF07-9483-8440-A18D-D5AE51EF5E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71709" y="4019797"/>
            <a:ext cx="5025945" cy="1229096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2988068602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ildobjekt 7" descr="Bildobjekt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14764" y="6268091"/>
            <a:ext cx="832867" cy="324051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Title Text"/>
          <p:cNvSpPr txBox="1">
            <a:spLocks noGrp="1"/>
          </p:cNvSpPr>
          <p:nvPr>
            <p:ph type="title"/>
          </p:nvPr>
        </p:nvSpPr>
        <p:spPr>
          <a:xfrm>
            <a:off x="947737" y="372873"/>
            <a:ext cx="10296526" cy="1765894"/>
          </a:xfrm>
          <a:prstGeom prst="rect">
            <a:avLst/>
          </a:prstGeom>
        </p:spPr>
        <p:txBody>
          <a:bodyPr anchor="b"/>
          <a:lstStyle>
            <a:lvl1pPr>
              <a:defRPr sz="4000"/>
            </a:lvl1pPr>
          </a:lstStyle>
          <a:p>
            <a:r>
              <a:t>Title Text</a:t>
            </a:r>
          </a:p>
        </p:txBody>
      </p:sp>
      <p:sp>
        <p:nvSpPr>
          <p:cNvPr id="28" name="Body Level One…"/>
          <p:cNvSpPr txBox="1">
            <a:spLocks noGrp="1"/>
          </p:cNvSpPr>
          <p:nvPr>
            <p:ph type="body" idx="1"/>
          </p:nvPr>
        </p:nvSpPr>
        <p:spPr>
          <a:xfrm>
            <a:off x="947737" y="2406811"/>
            <a:ext cx="10296526" cy="3955244"/>
          </a:xfrm>
          <a:prstGeom prst="rect">
            <a:avLst/>
          </a:prstGeom>
        </p:spPr>
        <p:txBody>
          <a:bodyPr/>
          <a:lstStyle>
            <a:lvl1pPr marL="342900" indent="-342900"/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9698416"/>
      </p:ext>
    </p:extLst>
  </p:cSld>
  <p:clrMapOvr>
    <a:masterClrMapping/>
  </p:clrMapOvr>
  <p:transition spd="med"/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025-09-17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94116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F3C90D6-809C-4544-995A-25961A838C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C0F15878-E6A1-0741-AC27-B0ED6E01008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15594103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85619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image r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CE8E63-3440-339A-7567-9B6702017C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3421536"/>
            <a:ext cx="3903617" cy="132018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82969FD-D9D5-DC09-45A8-989E9BB6EEB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90159" y="496886"/>
            <a:ext cx="7091523" cy="5172393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A51D0864-8B8D-D760-2516-447F1E82C7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t>2025-09-17</a:t>
            </a:fld>
            <a:endParaRPr lang="en-GB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ADFD04-9FB5-3D60-9D71-B638F46B006B}"/>
              </a:ext>
            </a:extLst>
          </p:cNvPr>
          <p:cNvSpPr txBox="1"/>
          <p:nvPr userDrawn="1"/>
        </p:nvSpPr>
        <p:spPr>
          <a:xfrm>
            <a:off x="420188" y="298509"/>
            <a:ext cx="280924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800" b="1" i="0" err="1">
                <a:latin typeface="Roboto Slab" pitchFamily="2" charset="0"/>
                <a:ea typeface="Roboto Slab" pitchFamily="2" charset="0"/>
              </a:rPr>
              <a:t>Omegapoint</a:t>
            </a:r>
            <a:r>
              <a:rPr lang="en-GB" sz="800" b="1" i="0">
                <a:latin typeface="Roboto Slab" pitchFamily="2" charset="0"/>
                <a:ea typeface="Roboto Slab" pitchFamily="2" charset="0"/>
              </a:rPr>
              <a:t> </a:t>
            </a:r>
            <a:r>
              <a:rPr lang="en-GB" sz="800" b="1" i="0" err="1">
                <a:latin typeface="Roboto Slab" pitchFamily="2" charset="0"/>
                <a:ea typeface="Roboto Slab" pitchFamily="2" charset="0"/>
              </a:rPr>
              <a:t>Göteborg</a:t>
            </a:r>
            <a:endParaRPr lang="en-GB" sz="800" b="1" i="0"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20" name="Picture 19" descr="Shape&#10;&#10;Description automatically generated with medium confidence">
            <a:extLst>
              <a:ext uri="{FF2B5EF4-FFF2-40B4-BE49-F238E27FC236}">
                <a16:creationId xmlns:a16="http://schemas.microsoft.com/office/drawing/2014/main" id="{59D638F8-4508-23EA-24D2-7A29DEB392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62208" y="6000700"/>
            <a:ext cx="2743200" cy="526694"/>
          </a:xfrm>
          <a:prstGeom prst="rect">
            <a:avLst/>
          </a:prstGeom>
        </p:spPr>
      </p:pic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9A1763FF-2775-BB1D-8C65-712F501858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872417"/>
            <a:ext cx="115697" cy="306901"/>
          </a:xfrm>
          <a:prstGeom prst="parallelogram">
            <a:avLst/>
          </a:prstGeom>
          <a:solidFill>
            <a:schemeClr val="tx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F163DD-481A-5F2D-5487-73DCC8F0B0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4829492"/>
            <a:ext cx="3903663" cy="839787"/>
          </a:xfrm>
        </p:spPr>
        <p:txBody>
          <a:bodyPr anchor="b" anchorCtr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/>
            </a:lvl1pPr>
            <a:lvl2pPr marL="0" indent="0">
              <a:lnSpc>
                <a:spcPts val="1600"/>
              </a:lnSpc>
              <a:spcBef>
                <a:spcPts val="0"/>
              </a:spcBef>
              <a:buNone/>
              <a:defRPr sz="1200"/>
            </a:lvl2pPr>
            <a:lvl3pPr marL="0" indent="0">
              <a:lnSpc>
                <a:spcPts val="1600"/>
              </a:lnSpc>
              <a:spcBef>
                <a:spcPts val="0"/>
              </a:spcBef>
              <a:buNone/>
              <a:defRPr sz="1200"/>
            </a:lvl3pPr>
            <a:lvl4pPr marL="0" indent="0">
              <a:lnSpc>
                <a:spcPts val="1600"/>
              </a:lnSpc>
              <a:spcBef>
                <a:spcPts val="0"/>
              </a:spcBef>
              <a:buNone/>
              <a:defRPr sz="1200"/>
            </a:lvl4pPr>
            <a:lvl5pPr marL="0" indent="0">
              <a:lnSpc>
                <a:spcPts val="1600"/>
              </a:lnSpc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5163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image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8080AB5C-0BBB-0C4D-6384-BD3367178D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3421536"/>
            <a:ext cx="4778828" cy="132018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E141ACC-BEE1-49B8-40CD-D5AF97E73A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1175657"/>
            <a:ext cx="6085682" cy="4493622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2C441275-5DB1-60F9-DF23-2D133BE554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t>2025-09-17</a:t>
            </a:fld>
            <a:endParaRPr lang="en-GB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27129CB-65FB-8BC2-439A-B1920ABC95E7}"/>
              </a:ext>
            </a:extLst>
          </p:cNvPr>
          <p:cNvSpPr txBox="1"/>
          <p:nvPr userDrawn="1"/>
        </p:nvSpPr>
        <p:spPr>
          <a:xfrm>
            <a:off x="420188" y="298509"/>
            <a:ext cx="280924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800" b="1" i="0" err="1">
                <a:latin typeface="Roboto Slab" pitchFamily="2" charset="0"/>
                <a:ea typeface="Roboto Slab" pitchFamily="2" charset="0"/>
              </a:rPr>
              <a:t>Omegapoint</a:t>
            </a:r>
            <a:r>
              <a:rPr lang="en-GB" sz="800" b="1" i="0">
                <a:latin typeface="Roboto Slab" pitchFamily="2" charset="0"/>
                <a:ea typeface="Roboto Slab" pitchFamily="2" charset="0"/>
              </a:rPr>
              <a:t> </a:t>
            </a:r>
            <a:r>
              <a:rPr lang="en-GB" sz="800" b="1" i="0" err="1">
                <a:latin typeface="Roboto Slab" pitchFamily="2" charset="0"/>
                <a:ea typeface="Roboto Slab" pitchFamily="2" charset="0"/>
              </a:rPr>
              <a:t>Göteborg</a:t>
            </a:r>
            <a:endParaRPr lang="en-GB" sz="800" b="1" i="0"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20" name="Picture 19" descr="Shape&#10;&#10;Description automatically generated with medium confidence">
            <a:extLst>
              <a:ext uri="{FF2B5EF4-FFF2-40B4-BE49-F238E27FC236}">
                <a16:creationId xmlns:a16="http://schemas.microsoft.com/office/drawing/2014/main" id="{01CAE11A-5FB1-CE12-ED02-068F6D9638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62208" y="6000700"/>
            <a:ext cx="2743200" cy="526694"/>
          </a:xfrm>
          <a:prstGeom prst="rect">
            <a:avLst/>
          </a:prstGeom>
        </p:spPr>
      </p:pic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9AD29929-09A6-6397-0002-7BDA38A475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872417"/>
            <a:ext cx="115697" cy="306901"/>
          </a:xfrm>
          <a:prstGeom prst="parallelogram">
            <a:avLst/>
          </a:prstGeom>
          <a:solidFill>
            <a:schemeClr val="tx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D48A152E-5AE6-D0F2-B85E-29979BF4D7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4839017"/>
            <a:ext cx="4769030" cy="830262"/>
          </a:xfrm>
        </p:spPr>
        <p:txBody>
          <a:bodyPr anchor="b" anchorCtr="0"/>
          <a:lstStyle>
            <a:lvl1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3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1pPr>
            <a:lvl2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4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2pPr>
            <a:lvl3pPr marL="360000" indent="-180000" fontAlgn="ctr">
              <a:lnSpc>
                <a:spcPts val="1800"/>
              </a:lnSpc>
              <a:spcBef>
                <a:spcPts val="600"/>
              </a:spcBef>
              <a:buSzPct val="100000"/>
              <a:buFont typeface="System Font Regular"/>
              <a:buChar char="–"/>
              <a:defRPr sz="1400">
                <a:solidFill>
                  <a:schemeClr val="tx1"/>
                </a:solidFill>
              </a:defRPr>
            </a:lvl3pPr>
            <a:lvl4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4pPr>
            <a:lvl5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  <a:br>
              <a:rPr lang="en-US"/>
            </a:br>
            <a:r>
              <a:rPr lang="en-US"/>
              <a:t>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4365872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image right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8080AB5C-0BBB-0C4D-6384-BD3367178D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3421536"/>
            <a:ext cx="4778828" cy="132018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E141ACC-BEE1-49B8-40CD-D5AF97E73A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1175657"/>
            <a:ext cx="6085682" cy="4493622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2C441275-5DB1-60F9-DF23-2D133BE554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t>2025-09-17</a:t>
            </a:fld>
            <a:endParaRPr lang="en-GB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27129CB-65FB-8BC2-439A-B1920ABC95E7}"/>
              </a:ext>
            </a:extLst>
          </p:cNvPr>
          <p:cNvSpPr txBox="1"/>
          <p:nvPr userDrawn="1"/>
        </p:nvSpPr>
        <p:spPr>
          <a:xfrm>
            <a:off x="420188" y="298509"/>
            <a:ext cx="280924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800" b="1" i="0" err="1">
                <a:latin typeface="Roboto Slab" pitchFamily="2" charset="0"/>
                <a:ea typeface="Roboto Slab" pitchFamily="2" charset="0"/>
              </a:rPr>
              <a:t>Omegapoint</a:t>
            </a:r>
            <a:r>
              <a:rPr lang="en-GB" sz="800" b="1" i="0">
                <a:latin typeface="Roboto Slab" pitchFamily="2" charset="0"/>
                <a:ea typeface="Roboto Slab" pitchFamily="2" charset="0"/>
              </a:rPr>
              <a:t> </a:t>
            </a:r>
            <a:r>
              <a:rPr lang="en-GB" sz="800" b="1" i="0" err="1">
                <a:latin typeface="Roboto Slab" pitchFamily="2" charset="0"/>
                <a:ea typeface="Roboto Slab" pitchFamily="2" charset="0"/>
              </a:rPr>
              <a:t>Göteborg</a:t>
            </a:r>
            <a:endParaRPr lang="en-GB" sz="800" b="1" i="0"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20" name="Picture 19" descr="Shape&#10;&#10;Description automatically generated with medium confidence">
            <a:extLst>
              <a:ext uri="{FF2B5EF4-FFF2-40B4-BE49-F238E27FC236}">
                <a16:creationId xmlns:a16="http://schemas.microsoft.com/office/drawing/2014/main" id="{01CAE11A-5FB1-CE12-ED02-068F6D9638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62208" y="6000700"/>
            <a:ext cx="2743200" cy="526694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F36B00D-9665-D3A3-6E77-A901944F59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4839017"/>
            <a:ext cx="4769030" cy="830262"/>
          </a:xfrm>
        </p:spPr>
        <p:txBody>
          <a:bodyPr anchor="b" anchorCtr="0"/>
          <a:lstStyle>
            <a:lvl1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3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1pPr>
            <a:lvl2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4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2pPr>
            <a:lvl3pPr marL="360000" indent="-180000" fontAlgn="ctr">
              <a:lnSpc>
                <a:spcPts val="1800"/>
              </a:lnSpc>
              <a:spcBef>
                <a:spcPts val="600"/>
              </a:spcBef>
              <a:buSzPct val="100000"/>
              <a:buFont typeface="System Font Regular"/>
              <a:buChar char="–"/>
              <a:defRPr sz="1400">
                <a:solidFill>
                  <a:schemeClr val="tx1"/>
                </a:solidFill>
              </a:defRPr>
            </a:lvl3pPr>
            <a:lvl4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4pPr>
            <a:lvl5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  <a:br>
              <a:rPr lang="en-US"/>
            </a:br>
            <a:r>
              <a:rPr lang="en-US"/>
              <a:t>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2634131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image r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A33FAD2-06DF-ACF4-26A6-30FB8F8E9A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456181"/>
            <a:ext cx="4778828" cy="764506"/>
          </a:xfrm>
        </p:spPr>
        <p:txBody>
          <a:bodyPr wrap="square" lIns="0" tIns="0" rIns="0" bIns="0" anchor="t" anchorCtr="0">
            <a:noAutofit/>
          </a:bodyPr>
          <a:lstStyle>
            <a:lvl1pPr algn="l"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7887A348-9948-88A9-98A1-311D15CD55D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1175657"/>
            <a:ext cx="6085682" cy="4493622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36A9DF35-6619-7E07-6F48-DD6A257315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t>2025-09-17</a:t>
            </a:fld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C05C8E-E901-19D9-34CF-CC3F782F5134}"/>
              </a:ext>
            </a:extLst>
          </p:cNvPr>
          <p:cNvSpPr txBox="1"/>
          <p:nvPr userDrawn="1"/>
        </p:nvSpPr>
        <p:spPr>
          <a:xfrm>
            <a:off x="420188" y="298509"/>
            <a:ext cx="280924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800" b="1" i="0" err="1">
                <a:latin typeface="Roboto Slab" pitchFamily="2" charset="0"/>
                <a:ea typeface="Roboto Slab" pitchFamily="2" charset="0"/>
              </a:rPr>
              <a:t>Omegapoint</a:t>
            </a:r>
            <a:r>
              <a:rPr lang="en-GB" sz="800" b="1" i="0">
                <a:latin typeface="Roboto Slab" pitchFamily="2" charset="0"/>
                <a:ea typeface="Roboto Slab" pitchFamily="2" charset="0"/>
              </a:rPr>
              <a:t> </a:t>
            </a:r>
            <a:r>
              <a:rPr lang="en-GB" sz="800" b="1" i="0" err="1">
                <a:latin typeface="Roboto Slab" pitchFamily="2" charset="0"/>
                <a:ea typeface="Roboto Slab" pitchFamily="2" charset="0"/>
              </a:rPr>
              <a:t>Göteborg</a:t>
            </a:r>
            <a:endParaRPr lang="en-GB" sz="800" b="1" i="0"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19" name="Picture 18" descr="Shape&#10;&#10;Description automatically generated with medium confidence">
            <a:extLst>
              <a:ext uri="{FF2B5EF4-FFF2-40B4-BE49-F238E27FC236}">
                <a16:creationId xmlns:a16="http://schemas.microsoft.com/office/drawing/2014/main" id="{43ACBBB9-1966-23F6-A1CD-4AD435CE4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62208" y="6000700"/>
            <a:ext cx="2743200" cy="526694"/>
          </a:xfrm>
          <a:prstGeom prst="rect">
            <a:avLst/>
          </a:prstGeo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7C41757-BC36-4D7E-93CC-781DE54902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2235360"/>
            <a:ext cx="3420000" cy="324943"/>
          </a:xfrm>
          <a:solidFill>
            <a:schemeClr val="bg1"/>
          </a:solidFill>
        </p:spPr>
        <p:txBody>
          <a:bodyPr lIns="72000" tIns="72000" rIns="72000" bIns="72000">
            <a:sp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2pPr>
            <a:lvl3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3pPr>
            <a:lvl4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4pPr>
            <a:lvl5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959E9B6-90DB-4D08-F2E1-C830BF34EC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99063" y="2235360"/>
            <a:ext cx="3420000" cy="324943"/>
          </a:xfrm>
          <a:solidFill>
            <a:schemeClr val="bg1"/>
          </a:solidFill>
        </p:spPr>
        <p:txBody>
          <a:bodyPr lIns="72000" tIns="72000" rIns="72000" bIns="72000">
            <a:sp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2pPr>
            <a:lvl3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3pPr>
            <a:lvl4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4pPr>
            <a:lvl5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75CC746-7940-FDDC-1F8C-BE0B56EBEA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4839017"/>
            <a:ext cx="4769030" cy="830262"/>
          </a:xfrm>
        </p:spPr>
        <p:txBody>
          <a:bodyPr anchor="b" anchorCtr="0"/>
          <a:lstStyle>
            <a:lvl1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3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1pPr>
            <a:lvl2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4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2pPr>
            <a:lvl3pPr marL="360000" indent="-180000" fontAlgn="ctr">
              <a:lnSpc>
                <a:spcPts val="1800"/>
              </a:lnSpc>
              <a:spcBef>
                <a:spcPts val="600"/>
              </a:spcBef>
              <a:buSzPct val="100000"/>
              <a:buFont typeface="System Font Regular"/>
              <a:buChar char="–"/>
              <a:defRPr sz="1400">
                <a:solidFill>
                  <a:schemeClr val="tx1"/>
                </a:solidFill>
              </a:defRPr>
            </a:lvl3pPr>
            <a:lvl4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4pPr>
            <a:lvl5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  <a:br>
              <a:rPr lang="en-US"/>
            </a:br>
            <a:r>
              <a:rPr lang="en-US"/>
              <a:t>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7723380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right image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Shape&#10;&#10;Description automatically generated with medium confidence">
            <a:extLst>
              <a:ext uri="{FF2B5EF4-FFF2-40B4-BE49-F238E27FC236}">
                <a16:creationId xmlns:a16="http://schemas.microsoft.com/office/drawing/2014/main" id="{244B4670-949A-EA53-4B63-4077A4F0A2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62208" y="6000700"/>
            <a:ext cx="2743200" cy="526694"/>
          </a:xfrm>
          <a:prstGeom prst="rect">
            <a:avLst/>
          </a:prstGeom>
        </p:spPr>
      </p:pic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BEE772C0-B555-0BC9-F3C7-187D98B5274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318" y="1175657"/>
            <a:ext cx="6085682" cy="4493622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A1F6E9A8-3C18-BB4C-1ECA-A7CA83BE7D12}"/>
              </a:ext>
            </a:extLst>
          </p:cNvPr>
          <p:cNvSpPr txBox="1">
            <a:spLocks/>
          </p:cNvSpPr>
          <p:nvPr userDrawn="1"/>
        </p:nvSpPr>
        <p:spPr>
          <a:xfrm>
            <a:off x="6572794" y="2108811"/>
            <a:ext cx="4778828" cy="13201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7E16421-DFA9-1DE0-A248-049A231F18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72794" y="2108811"/>
            <a:ext cx="4778828" cy="132018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20C38246-4C72-656B-8903-500542573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2794" y="1559038"/>
            <a:ext cx="1835543" cy="237830"/>
          </a:xfrm>
          <a:prstGeom prst="parallelogram">
            <a:avLst/>
          </a:prstGeom>
          <a:solidFill>
            <a:schemeClr val="tx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REM SIT MAGNA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1EA5B8E-FB58-45B3-AA31-7173F54265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72794" y="3458947"/>
            <a:ext cx="4769030" cy="830262"/>
          </a:xfrm>
        </p:spPr>
        <p:txBody>
          <a:bodyPr anchor="t" anchorCtr="0"/>
          <a:lstStyle>
            <a:lvl1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3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1pPr>
            <a:lvl2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4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2pPr>
            <a:lvl3pPr marL="360000" indent="-180000" fontAlgn="ctr">
              <a:lnSpc>
                <a:spcPts val="1800"/>
              </a:lnSpc>
              <a:spcBef>
                <a:spcPts val="600"/>
              </a:spcBef>
              <a:buSzPct val="100000"/>
              <a:buFont typeface="System Font Regular"/>
              <a:buChar char="–"/>
              <a:defRPr sz="1400">
                <a:solidFill>
                  <a:schemeClr val="tx1"/>
                </a:solidFill>
              </a:defRPr>
            </a:lvl3pPr>
            <a:lvl4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4pPr>
            <a:lvl5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  <a:br>
              <a:rPr lang="en-US"/>
            </a:br>
            <a:r>
              <a:rPr lang="en-US"/>
              <a:t>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5322862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image righ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BEE772C0-B555-0BC9-F3C7-187D98B5274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1175657"/>
            <a:ext cx="6085682" cy="4493622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2AE5C32-78A2-FF32-3833-C81842E51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2108811"/>
            <a:ext cx="4778828" cy="132018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212FF345-00E2-1ECF-3D45-825FD2E0E8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t>2025-09-17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EBD352-FD70-B9E5-8BB8-E52AC0A828C6}"/>
              </a:ext>
            </a:extLst>
          </p:cNvPr>
          <p:cNvSpPr txBox="1"/>
          <p:nvPr userDrawn="1"/>
        </p:nvSpPr>
        <p:spPr>
          <a:xfrm>
            <a:off x="420188" y="298509"/>
            <a:ext cx="280924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800" b="1" i="0" err="1">
                <a:latin typeface="Roboto Slab" pitchFamily="2" charset="0"/>
                <a:ea typeface="Roboto Slab" pitchFamily="2" charset="0"/>
              </a:rPr>
              <a:t>Omegapoint</a:t>
            </a:r>
            <a:r>
              <a:rPr lang="en-GB" sz="800" b="1" i="0">
                <a:latin typeface="Roboto Slab" pitchFamily="2" charset="0"/>
                <a:ea typeface="Roboto Slab" pitchFamily="2" charset="0"/>
              </a:rPr>
              <a:t> </a:t>
            </a:r>
            <a:r>
              <a:rPr lang="en-GB" sz="800" b="1" i="0" err="1">
                <a:latin typeface="Roboto Slab" pitchFamily="2" charset="0"/>
                <a:ea typeface="Roboto Slab" pitchFamily="2" charset="0"/>
              </a:rPr>
              <a:t>Göteborg</a:t>
            </a:r>
            <a:endParaRPr lang="en-GB" sz="800" b="1" i="0"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06A491D6-A611-8AED-3471-B8D883B52E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62208" y="6000700"/>
            <a:ext cx="2743200" cy="526694"/>
          </a:xfrm>
          <a:prstGeom prst="rect">
            <a:avLst/>
          </a:prstGeom>
        </p:spPr>
      </p:pic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738EE56D-4C9D-933F-24D1-962297C7BD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524503"/>
            <a:ext cx="115697" cy="306901"/>
          </a:xfrm>
          <a:prstGeom prst="parallelogram">
            <a:avLst/>
          </a:prstGeom>
          <a:solidFill>
            <a:schemeClr val="tx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34C9C-C19F-02A6-03A9-032481937D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3458947"/>
            <a:ext cx="4769030" cy="830262"/>
          </a:xfrm>
        </p:spPr>
        <p:txBody>
          <a:bodyPr anchor="t" anchorCtr="0"/>
          <a:lstStyle>
            <a:lvl1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3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1pPr>
            <a:lvl2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4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2pPr>
            <a:lvl3pPr marL="360000" indent="-180000" fontAlgn="ctr">
              <a:lnSpc>
                <a:spcPts val="1800"/>
              </a:lnSpc>
              <a:spcBef>
                <a:spcPts val="600"/>
              </a:spcBef>
              <a:buSzPct val="100000"/>
              <a:buFont typeface="System Font Regular"/>
              <a:buChar char="–"/>
              <a:defRPr sz="1400">
                <a:solidFill>
                  <a:schemeClr val="tx1"/>
                </a:solidFill>
              </a:defRPr>
            </a:lvl3pPr>
            <a:lvl4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4pPr>
            <a:lvl5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  <a:br>
              <a:rPr lang="en-US"/>
            </a:br>
            <a:r>
              <a:rPr lang="en-US"/>
              <a:t>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6020734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Ima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CB45FD8-218C-01ED-52CF-BD1912F27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6" t="16262" r="22034" b="18157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A830F7F-0C6D-07D6-710A-74E3D5F0AA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pPr/>
              <a:t>2025-09-17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DF29DBE-C81A-2BE6-B851-FB812740D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962209" y="6000700"/>
            <a:ext cx="2743197" cy="52669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6ED414C-6539-C0C9-28EF-43F5691A92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2494073"/>
            <a:ext cx="6035040" cy="1320189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E3E473B-4971-35C3-E619-199FE3D29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78481" y="3814262"/>
            <a:ext cx="6035039" cy="927554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text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241D53AA-464D-DD04-D84B-D4812E458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38151" y="1908832"/>
            <a:ext cx="115697" cy="306901"/>
          </a:xfrm>
          <a:prstGeom prst="parallelogram">
            <a:avLst/>
          </a:prstGeom>
          <a:solidFill>
            <a:schemeClr val="bg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18403844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Imag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dark, lamp&#10;&#10;Description automatically generated">
            <a:extLst>
              <a:ext uri="{FF2B5EF4-FFF2-40B4-BE49-F238E27FC236}">
                <a16:creationId xmlns:a16="http://schemas.microsoft.com/office/drawing/2014/main" id="{AF6C6DC9-D5C7-B761-C1FD-C0D5FDBB68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871" b="7871"/>
          <a:stretch/>
        </p:blipFill>
        <p:spPr>
          <a:xfrm>
            <a:off x="1" y="0"/>
            <a:ext cx="12209078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DF29DBE-C81A-2BE6-B851-FB812740D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962209" y="6000700"/>
            <a:ext cx="2743197" cy="52669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6ED414C-6539-C0C9-28EF-43F5691A92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2494073"/>
            <a:ext cx="6035040" cy="1320189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2C985B-5B96-19E8-CE5A-0223FC2A5D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78163" y="3823988"/>
            <a:ext cx="6035675" cy="830262"/>
          </a:xfrm>
        </p:spPr>
        <p:txBody>
          <a:bodyPr/>
          <a:lstStyle>
            <a:lvl1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4"/>
              </a:buBlip>
              <a:tabLst>
                <a:tab pos="180000" algn="l"/>
              </a:tabLst>
              <a:defRPr sz="1800">
                <a:solidFill>
                  <a:schemeClr val="bg1"/>
                </a:solidFill>
              </a:defRPr>
            </a:lvl1pPr>
            <a:lvl2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5"/>
              </a:buBlip>
              <a:tabLst>
                <a:tab pos="180000" algn="l"/>
              </a:tabLst>
              <a:defRPr sz="1800">
                <a:solidFill>
                  <a:schemeClr val="bg1"/>
                </a:solidFill>
              </a:defRPr>
            </a:lvl2pPr>
            <a:lvl3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3pPr>
            <a:lvl4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4pPr>
            <a:lvl5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  <a:br>
              <a:rPr lang="en-US"/>
            </a:br>
            <a:r>
              <a:rPr lang="en-US"/>
              <a:t>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761CF39E-CC07-43AA-6CA1-3403542109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38151" y="1908832"/>
            <a:ext cx="115697" cy="306901"/>
          </a:xfrm>
          <a:prstGeom prst="parallelogram">
            <a:avLst/>
          </a:prstGeom>
          <a:solidFill>
            <a:schemeClr val="bg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504547304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Imag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buildings with trees in front of them&#10;&#10;Description automatically generated with low confidence">
            <a:extLst>
              <a:ext uri="{FF2B5EF4-FFF2-40B4-BE49-F238E27FC236}">
                <a16:creationId xmlns:a16="http://schemas.microsoft.com/office/drawing/2014/main" id="{14DFC573-CC21-5E27-F761-F45FF31533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30"/>
          <a:stretch/>
        </p:blipFill>
        <p:spPr>
          <a:xfrm>
            <a:off x="0" y="0"/>
            <a:ext cx="1220724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DF29DBE-C81A-2BE6-B851-FB812740D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962209" y="6000700"/>
            <a:ext cx="2743197" cy="52669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6ED414C-6539-C0C9-28EF-43F5691A92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65218" y="2494073"/>
            <a:ext cx="9261565" cy="2352247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1BC52700-0C83-132A-43D0-16D90D782D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38151" y="1908832"/>
            <a:ext cx="115697" cy="306901"/>
          </a:xfrm>
          <a:prstGeom prst="parallelogram">
            <a:avLst/>
          </a:prstGeom>
          <a:solidFill>
            <a:schemeClr val="bg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9615438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167A8DEA-2816-DA4A-B687-F08C8EC6B4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F4683308-FB74-284D-B1D7-FD1B09358FE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829643033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Image3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4DFC573-CC21-5E27-F761-F45FF31533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4924" b="10848"/>
          <a:stretch/>
        </p:blipFill>
        <p:spPr>
          <a:xfrm flipH="1">
            <a:off x="0" y="0"/>
            <a:ext cx="12207240" cy="6858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A830F7F-0C6D-07D6-710A-74E3D5F0AA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pPr/>
              <a:t>2025-09-17</a:t>
            </a:fld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FC0451-0111-0367-A268-F8F3B12E94FC}"/>
              </a:ext>
            </a:extLst>
          </p:cNvPr>
          <p:cNvSpPr txBox="1"/>
          <p:nvPr userDrawn="1"/>
        </p:nvSpPr>
        <p:spPr>
          <a:xfrm>
            <a:off x="420188" y="298509"/>
            <a:ext cx="280924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800" b="1" i="0" err="1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Omegapoint</a:t>
            </a:r>
            <a:r>
              <a:rPr lang="en-GB" sz="800" b="1" i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 </a:t>
            </a:r>
            <a:r>
              <a:rPr lang="en-GB" sz="800" b="1" i="0" err="1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Göteborg</a:t>
            </a:r>
            <a:endParaRPr lang="en-GB" sz="800" b="1" i="0">
              <a:solidFill>
                <a:schemeClr val="bg1"/>
              </a:solidFill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DF29DBE-C81A-2BE6-B851-FB812740D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962209" y="6000700"/>
            <a:ext cx="2743197" cy="52669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6ED414C-6539-C0C9-28EF-43F5691A92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65218" y="2494073"/>
            <a:ext cx="9261565" cy="2352247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1BC52700-0C83-132A-43D0-16D90D782D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38151" y="1908832"/>
            <a:ext cx="115697" cy="306901"/>
          </a:xfrm>
          <a:prstGeom prst="parallelogram">
            <a:avLst/>
          </a:prstGeom>
          <a:solidFill>
            <a:schemeClr val="bg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821884471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Imag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90070CB-599E-5F8F-5DBD-CFF83F066D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900" b="7900"/>
          <a:stretch/>
        </p:blipFill>
        <p:spPr>
          <a:xfrm>
            <a:off x="-1" y="0"/>
            <a:ext cx="12211347" cy="6858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A830F7F-0C6D-07D6-710A-74E3D5F0AA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pPr/>
              <a:t>2025-09-17</a:t>
            </a:fld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FC0451-0111-0367-A268-F8F3B12E94FC}"/>
              </a:ext>
            </a:extLst>
          </p:cNvPr>
          <p:cNvSpPr txBox="1"/>
          <p:nvPr userDrawn="1"/>
        </p:nvSpPr>
        <p:spPr>
          <a:xfrm>
            <a:off x="420188" y="298509"/>
            <a:ext cx="280924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800" b="1" i="0" err="1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Omegapoint</a:t>
            </a:r>
            <a:r>
              <a:rPr lang="en-GB" sz="800" b="1" i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 </a:t>
            </a:r>
            <a:r>
              <a:rPr lang="en-GB" sz="800" b="1" i="0" err="1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Göteborg</a:t>
            </a:r>
            <a:endParaRPr lang="en-GB" sz="800" b="1" i="0">
              <a:solidFill>
                <a:schemeClr val="bg1"/>
              </a:solidFill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DF29DBE-C81A-2BE6-B851-FB812740D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962209" y="6000700"/>
            <a:ext cx="2743197" cy="526694"/>
          </a:xfrm>
          <a:prstGeom prst="rect">
            <a:avLst/>
          </a:prstGeom>
        </p:spPr>
      </p:pic>
      <p:sp>
        <p:nvSpPr>
          <p:cNvPr id="2" name="Subtitle 2">
            <a:extLst>
              <a:ext uri="{FF2B5EF4-FFF2-40B4-BE49-F238E27FC236}">
                <a16:creationId xmlns:a16="http://schemas.microsoft.com/office/drawing/2014/main" id="{904EE75E-5FDA-70A7-577B-AC29CA99D5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35035" y="2494072"/>
            <a:ext cx="8921930" cy="2535127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ts val="4200"/>
              </a:lnSpc>
              <a:spcBef>
                <a:spcPts val="0"/>
              </a:spcBef>
              <a:buNone/>
              <a:defRPr sz="3600" b="0" i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defRPr>
            </a:lvl1pPr>
            <a:lvl2pPr marL="0" indent="0" algn="ctr">
              <a:spcBef>
                <a:spcPts val="2300"/>
              </a:spcBef>
              <a:buNone/>
              <a:defRPr sz="200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Click </a:t>
            </a:r>
          </a:p>
          <a:p>
            <a:r>
              <a:rPr lang="en-GB"/>
              <a:t>to add text”</a:t>
            </a:r>
          </a:p>
          <a:p>
            <a:pPr lvl="1"/>
            <a:r>
              <a:rPr lang="en-GB"/>
              <a:t>– </a:t>
            </a:r>
            <a:r>
              <a:rPr lang="en-GB" err="1"/>
              <a:t>Namn</a:t>
            </a:r>
            <a:r>
              <a:rPr lang="en-GB"/>
              <a:t> </a:t>
            </a:r>
            <a:r>
              <a:rPr lang="en-GB" err="1"/>
              <a:t>Namnsson</a:t>
            </a:r>
            <a:r>
              <a:rPr lang="en-GB"/>
              <a:t>,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C3ED2050-F8B3-15EC-CB0E-38767BBA3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38151" y="1908832"/>
            <a:ext cx="115697" cy="306901"/>
          </a:xfrm>
          <a:prstGeom prst="parallelogram">
            <a:avLst/>
          </a:prstGeom>
          <a:solidFill>
            <a:schemeClr val="bg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224888729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ark, nature&#10;&#10;Description automatically generated">
            <a:extLst>
              <a:ext uri="{FF2B5EF4-FFF2-40B4-BE49-F238E27FC236}">
                <a16:creationId xmlns:a16="http://schemas.microsoft.com/office/drawing/2014/main" id="{25306FB2-F8F0-5479-C3E2-EAFD520B3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6328" t="21290" r="40259" b="6342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F02381B2-9991-1A3B-3158-A1C1ABCCF2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t>2025-09-17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6EBE70-36CA-658C-7486-6D5553BDA21E}"/>
              </a:ext>
            </a:extLst>
          </p:cNvPr>
          <p:cNvSpPr txBox="1"/>
          <p:nvPr userDrawn="1"/>
        </p:nvSpPr>
        <p:spPr>
          <a:xfrm>
            <a:off x="420188" y="298509"/>
            <a:ext cx="280924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800" b="1" i="0" err="1">
                <a:latin typeface="Roboto Slab" pitchFamily="2" charset="0"/>
                <a:ea typeface="Roboto Slab" pitchFamily="2" charset="0"/>
              </a:rPr>
              <a:t>Omegapoint</a:t>
            </a:r>
            <a:r>
              <a:rPr lang="en-GB" sz="800" b="1" i="0">
                <a:latin typeface="Roboto Slab" pitchFamily="2" charset="0"/>
                <a:ea typeface="Roboto Slab" pitchFamily="2" charset="0"/>
              </a:rPr>
              <a:t> </a:t>
            </a:r>
            <a:r>
              <a:rPr lang="en-GB" sz="800" b="1" i="0" err="1">
                <a:latin typeface="Roboto Slab" pitchFamily="2" charset="0"/>
                <a:ea typeface="Roboto Slab" pitchFamily="2" charset="0"/>
              </a:rPr>
              <a:t>Göteborg</a:t>
            </a:r>
            <a:endParaRPr lang="en-GB" sz="800" b="1" i="0"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15" name="Picture 14" descr="Shape&#10;&#10;Description automatically generated with medium confidence">
            <a:extLst>
              <a:ext uri="{FF2B5EF4-FFF2-40B4-BE49-F238E27FC236}">
                <a16:creationId xmlns:a16="http://schemas.microsoft.com/office/drawing/2014/main" id="{244B4670-949A-EA53-4B63-4077A4F0A2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62208" y="6000700"/>
            <a:ext cx="2743200" cy="526694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A1F6E9A8-3C18-BB4C-1ECA-A7CA83BE7D12}"/>
              </a:ext>
            </a:extLst>
          </p:cNvPr>
          <p:cNvSpPr txBox="1">
            <a:spLocks/>
          </p:cNvSpPr>
          <p:nvPr userDrawn="1"/>
        </p:nvSpPr>
        <p:spPr>
          <a:xfrm>
            <a:off x="6086202" y="3752957"/>
            <a:ext cx="4778828" cy="13201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7E16421-DFA9-1DE0-A248-049A231F18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2306762"/>
            <a:ext cx="4778828" cy="132018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20C38246-4C72-656B-8903-5005425730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1722454"/>
            <a:ext cx="115697" cy="306901"/>
          </a:xfrm>
          <a:prstGeom prst="parallelogram">
            <a:avLst/>
          </a:prstGeom>
          <a:solidFill>
            <a:schemeClr val="tx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288247A-7B38-35E8-13E0-9005B3A357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1" y="3413449"/>
            <a:ext cx="4769030" cy="830262"/>
          </a:xfrm>
        </p:spPr>
        <p:txBody>
          <a:bodyPr/>
          <a:lstStyle>
            <a:lvl1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4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1pPr>
            <a:lvl2pPr marL="180000" indent="-180000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5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2pPr>
            <a:lvl3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3pPr>
            <a:lvl4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4pPr>
            <a:lvl5pPr marL="0" indent="-180000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  <a:br>
              <a:rPr lang="en-US"/>
            </a:br>
            <a:r>
              <a:rPr lang="en-US"/>
              <a:t>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234347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66F332C-6852-7830-BD91-7E7F247B8F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04EE75E-5FDA-70A7-577B-AC29CA99D5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35035" y="2286000"/>
            <a:ext cx="8921930" cy="1495357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ts val="3200"/>
              </a:lnSpc>
              <a:spcBef>
                <a:spcPts val="0"/>
              </a:spcBef>
              <a:buNone/>
              <a:defRPr sz="2800" b="1" i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defRPr>
            </a:lvl1pPr>
            <a:lvl2pPr marL="0" indent="0" algn="ctr">
              <a:lnSpc>
                <a:spcPts val="2200"/>
              </a:lnSpc>
              <a:spcBef>
                <a:spcPts val="23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text</a:t>
            </a:r>
          </a:p>
          <a:p>
            <a:pPr lvl="1"/>
            <a:r>
              <a:rPr lang="en-GB"/>
              <a:t>More tex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AF45E-607C-2D60-4534-40685F1AEC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65218" y="1495357"/>
            <a:ext cx="9261565" cy="790643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A0FD518-F6CD-DCE1-6CBD-B4EC535F59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86665" y="4229100"/>
            <a:ext cx="1335087" cy="56515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2EC41A5-C77F-B42D-E8B6-FE9D7C8BE25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0483" y="4229100"/>
            <a:ext cx="1335087" cy="56515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57913825-547D-395F-9E48-1898C4CD21A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4301" y="4229100"/>
            <a:ext cx="1335087" cy="56515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4647DB81-9295-A800-8CBE-265F07586F6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968118" y="4229100"/>
            <a:ext cx="1335087" cy="56515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83078B1B-37CD-FDD9-A281-4BA0B0E2EBA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722688" y="5012871"/>
            <a:ext cx="1335087" cy="56515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2F791367-E319-44BB-AE10-23E191A7D3D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34227" y="5012871"/>
            <a:ext cx="1335087" cy="56515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64D49B47-994B-BB00-E9F8-942DC9E41ED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36056" y="5012871"/>
            <a:ext cx="1335087" cy="56515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6AA291A-504E-1BD0-741C-A732CC417AC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38151" y="944651"/>
            <a:ext cx="115697" cy="306901"/>
          </a:xfrm>
          <a:prstGeom prst="parallelogram">
            <a:avLst/>
          </a:prstGeom>
          <a:solidFill>
            <a:schemeClr val="bg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DF29DBE-C81A-2BE6-B851-FB812740DD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962209" y="6000700"/>
            <a:ext cx="2743197" cy="526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701977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za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66F332C-6852-7830-BD91-7E7F247B8F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14300">
            <a:solidFill>
              <a:schemeClr val="accent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A830F7F-0C6D-07D6-710A-74E3D5F0AA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pPr/>
              <a:t>2025-09-17</a:t>
            </a:fld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FC0451-0111-0367-A268-F8F3B12E94FC}"/>
              </a:ext>
            </a:extLst>
          </p:cNvPr>
          <p:cNvSpPr txBox="1"/>
          <p:nvPr userDrawn="1"/>
        </p:nvSpPr>
        <p:spPr>
          <a:xfrm>
            <a:off x="420188" y="298509"/>
            <a:ext cx="280924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800" b="1" i="0" err="1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Omegapoint</a:t>
            </a:r>
            <a:r>
              <a:rPr lang="en-GB" sz="800" b="1" i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 </a:t>
            </a:r>
            <a:r>
              <a:rPr lang="en-GB" sz="800" b="1" i="0" err="1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Göteborg</a:t>
            </a:r>
            <a:endParaRPr lang="en-GB" sz="800" b="1" i="0">
              <a:solidFill>
                <a:schemeClr val="bg1"/>
              </a:solidFill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DF29DBE-C81A-2BE6-B851-FB812740DD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962209" y="6000700"/>
            <a:ext cx="2743197" cy="52669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6ED414C-6539-C0C9-28EF-43F5691A92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1958497"/>
            <a:ext cx="6035040" cy="848138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E3E473B-4971-35C3-E619-199FE3D29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78481" y="2806634"/>
            <a:ext cx="6035039" cy="1700052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ts val="24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text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AAE22D4-A450-B0B2-BFC9-C2FF9394C3DC}"/>
              </a:ext>
            </a:extLst>
          </p:cNvPr>
          <p:cNvSpPr txBox="1">
            <a:spLocks/>
          </p:cNvSpPr>
          <p:nvPr userDrawn="1"/>
        </p:nvSpPr>
        <p:spPr>
          <a:xfrm>
            <a:off x="2924989" y="4986434"/>
            <a:ext cx="1410789" cy="2648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fontAlgn="ctr" latinLnBrk="0" hangingPunct="1">
              <a:lnSpc>
                <a:spcPts val="2200"/>
              </a:lnSpc>
              <a:spcBef>
                <a:spcPts val="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4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None/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7pPr>
            <a:lvl8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8pPr>
            <a:lvl9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9pPr>
          </a:lstStyle>
          <a:p>
            <a:pPr marL="180000" indent="-180000">
              <a:lnSpc>
                <a:spcPts val="1800"/>
              </a:lnSpc>
              <a:buFontTx/>
              <a:buBlip>
                <a:blip r:embed="rId4"/>
              </a:buBlip>
            </a:pPr>
            <a:r>
              <a:rPr lang="en-GB" sz="1400" err="1">
                <a:solidFill>
                  <a:schemeClr val="bg1"/>
                </a:solidFill>
              </a:rPr>
              <a:t>Månadsmöten</a:t>
            </a: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8C549AB-13E1-6A58-F76E-DFC91974783F}"/>
              </a:ext>
            </a:extLst>
          </p:cNvPr>
          <p:cNvSpPr txBox="1">
            <a:spLocks/>
          </p:cNvSpPr>
          <p:nvPr userDrawn="1"/>
        </p:nvSpPr>
        <p:spPr>
          <a:xfrm>
            <a:off x="4492534" y="4986434"/>
            <a:ext cx="3206932" cy="2648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fontAlgn="ctr" latinLnBrk="0" hangingPunct="1">
              <a:lnSpc>
                <a:spcPts val="2200"/>
              </a:lnSpc>
              <a:spcBef>
                <a:spcPts val="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4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None/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7pPr>
            <a:lvl8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8pPr>
            <a:lvl9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9pPr>
          </a:lstStyle>
          <a:p>
            <a:pPr marL="180000" indent="-180000">
              <a:lnSpc>
                <a:spcPts val="1800"/>
              </a:lnSpc>
              <a:buFontTx/>
              <a:buBlip>
                <a:blip r:embed="rId4"/>
              </a:buBlip>
            </a:pPr>
            <a:r>
              <a:rPr lang="en-GB" sz="1400" err="1">
                <a:solidFill>
                  <a:schemeClr val="bg1"/>
                </a:solidFill>
              </a:rPr>
              <a:t>Kompetenskonferenser</a:t>
            </a:r>
            <a:r>
              <a:rPr lang="en-GB" sz="1400">
                <a:solidFill>
                  <a:schemeClr val="bg1"/>
                </a:solidFill>
              </a:rPr>
              <a:t> &amp; </a:t>
            </a:r>
            <a:r>
              <a:rPr lang="en-GB" sz="1400" err="1">
                <a:solidFill>
                  <a:schemeClr val="bg1"/>
                </a:solidFill>
              </a:rPr>
              <a:t>utbildningar</a:t>
            </a: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46013E2-5F28-38F2-238D-A73D7BFAC890}"/>
              </a:ext>
            </a:extLst>
          </p:cNvPr>
          <p:cNvSpPr txBox="1">
            <a:spLocks/>
          </p:cNvSpPr>
          <p:nvPr userDrawn="1"/>
        </p:nvSpPr>
        <p:spPr>
          <a:xfrm>
            <a:off x="7921537" y="4986434"/>
            <a:ext cx="2076996" cy="2648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fontAlgn="ctr" latinLnBrk="0" hangingPunct="1">
              <a:lnSpc>
                <a:spcPts val="2200"/>
              </a:lnSpc>
              <a:spcBef>
                <a:spcPts val="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4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None/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7pPr>
            <a:lvl8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8pPr>
            <a:lvl9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9pPr>
          </a:lstStyle>
          <a:p>
            <a:pPr marL="180000" indent="-180000">
              <a:lnSpc>
                <a:spcPts val="1800"/>
              </a:lnSpc>
              <a:buFontTx/>
              <a:buBlip>
                <a:blip r:embed="rId4"/>
              </a:buBlip>
            </a:pPr>
            <a:r>
              <a:rPr lang="en-GB" sz="1400" err="1">
                <a:solidFill>
                  <a:schemeClr val="bg1"/>
                </a:solidFill>
              </a:rPr>
              <a:t>Övriga</a:t>
            </a:r>
            <a:r>
              <a:rPr lang="en-GB" sz="1400">
                <a:solidFill>
                  <a:schemeClr val="bg1"/>
                </a:solidFill>
              </a:rPr>
              <a:t> </a:t>
            </a:r>
            <a:r>
              <a:rPr lang="en-GB" sz="1400" err="1">
                <a:solidFill>
                  <a:schemeClr val="bg1"/>
                </a:solidFill>
              </a:rPr>
              <a:t>aktiviteter</a:t>
            </a: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361CA776-83CD-C5C7-2CA6-3A43BB87A8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38151" y="1407790"/>
            <a:ext cx="115697" cy="306901"/>
          </a:xfrm>
          <a:prstGeom prst="parallelogram">
            <a:avLst/>
          </a:prstGeom>
          <a:solidFill>
            <a:schemeClr val="bg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459913176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zation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66F332C-6852-7830-BD91-7E7F247B8F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14300">
            <a:solidFill>
              <a:schemeClr val="accent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A830F7F-0C6D-07D6-710A-74E3D5F0AA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pPr/>
              <a:t>2025-09-17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DF29DBE-C81A-2BE6-B851-FB812740DD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962209" y="6000700"/>
            <a:ext cx="2743197" cy="52669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5BFF4CF-818E-DCAA-67DC-C60E5E19D2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2494073"/>
            <a:ext cx="6035040" cy="1320189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8DEB280-C392-1B47-3CDD-370B23634A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78163" y="3431075"/>
            <a:ext cx="6035675" cy="830262"/>
          </a:xfrm>
        </p:spPr>
        <p:txBody>
          <a:bodyPr/>
          <a:lstStyle>
            <a:lvl1pPr marL="180000" indent="-180000" algn="ctr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3"/>
              </a:buBlip>
              <a:tabLst>
                <a:tab pos="180000" algn="l"/>
              </a:tabLst>
              <a:defRPr sz="1800">
                <a:solidFill>
                  <a:schemeClr val="bg1"/>
                </a:solidFill>
              </a:defRPr>
            </a:lvl1pPr>
            <a:lvl2pPr marL="180000" indent="-180000" algn="ctr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4"/>
              </a:buBlip>
              <a:tabLst>
                <a:tab pos="180000" algn="l"/>
              </a:tabLst>
              <a:defRPr sz="1800">
                <a:solidFill>
                  <a:schemeClr val="bg1"/>
                </a:solidFill>
              </a:defRPr>
            </a:lvl2pPr>
            <a:lvl3pPr marL="0" indent="-180000" algn="ctr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3pPr>
            <a:lvl4pPr marL="0" indent="-180000" algn="ctr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4pPr>
            <a:lvl5pPr marL="0" indent="-180000" algn="ctr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  <a:br>
              <a:rPr lang="en-US"/>
            </a:br>
            <a:r>
              <a:rPr lang="en-US"/>
              <a:t>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E48613E5-34E3-1F8C-384E-05D81ECAAE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38151" y="1908832"/>
            <a:ext cx="115697" cy="306901"/>
          </a:xfrm>
          <a:prstGeom prst="parallelogram">
            <a:avLst/>
          </a:prstGeom>
          <a:solidFill>
            <a:schemeClr val="bg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854963064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zation_warm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66F332C-6852-7830-BD91-7E7F247B8F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114300">
            <a:solidFill>
              <a:schemeClr val="accent6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6ED414C-6539-C0C9-28EF-43F5691A92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1958497"/>
            <a:ext cx="6035040" cy="848138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E3E473B-4971-35C3-E619-199FE3D29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78481" y="2806634"/>
            <a:ext cx="6035039" cy="1700052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text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AAE22D4-A450-B0B2-BFC9-C2FF9394C3DC}"/>
              </a:ext>
            </a:extLst>
          </p:cNvPr>
          <p:cNvSpPr txBox="1">
            <a:spLocks/>
          </p:cNvSpPr>
          <p:nvPr userDrawn="1"/>
        </p:nvSpPr>
        <p:spPr>
          <a:xfrm>
            <a:off x="2924989" y="4986434"/>
            <a:ext cx="1410789" cy="2648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fontAlgn="ctr" latinLnBrk="0" hangingPunct="1">
              <a:lnSpc>
                <a:spcPts val="2200"/>
              </a:lnSpc>
              <a:spcBef>
                <a:spcPts val="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None/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7pPr>
            <a:lvl8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8pPr>
            <a:lvl9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9pPr>
          </a:lstStyle>
          <a:p>
            <a:pPr marL="180000" indent="-180000">
              <a:lnSpc>
                <a:spcPts val="1800"/>
              </a:lnSpc>
              <a:buFontTx/>
              <a:buBlip>
                <a:blip r:embed="rId3"/>
              </a:buBlip>
            </a:pPr>
            <a:r>
              <a:rPr lang="en-GB" sz="1400" err="1">
                <a:solidFill>
                  <a:schemeClr val="tx1"/>
                </a:solidFill>
              </a:rPr>
              <a:t>Månadsmöten</a:t>
            </a:r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8C549AB-13E1-6A58-F76E-DFC91974783F}"/>
              </a:ext>
            </a:extLst>
          </p:cNvPr>
          <p:cNvSpPr txBox="1">
            <a:spLocks/>
          </p:cNvSpPr>
          <p:nvPr userDrawn="1"/>
        </p:nvSpPr>
        <p:spPr>
          <a:xfrm>
            <a:off x="4492534" y="4986434"/>
            <a:ext cx="3206932" cy="2648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fontAlgn="ctr" latinLnBrk="0" hangingPunct="1">
              <a:lnSpc>
                <a:spcPts val="2200"/>
              </a:lnSpc>
              <a:spcBef>
                <a:spcPts val="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None/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7pPr>
            <a:lvl8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8pPr>
            <a:lvl9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9pPr>
          </a:lstStyle>
          <a:p>
            <a:pPr marL="180000" indent="-180000">
              <a:lnSpc>
                <a:spcPts val="1800"/>
              </a:lnSpc>
              <a:buFontTx/>
              <a:buBlip>
                <a:blip r:embed="rId3"/>
              </a:buBlip>
            </a:pPr>
            <a:r>
              <a:rPr lang="en-GB" sz="1400" err="1">
                <a:solidFill>
                  <a:schemeClr val="tx1"/>
                </a:solidFill>
              </a:rPr>
              <a:t>Kompetenskonferenser</a:t>
            </a:r>
            <a:r>
              <a:rPr lang="en-GB" sz="1400">
                <a:solidFill>
                  <a:schemeClr val="tx1"/>
                </a:solidFill>
              </a:rPr>
              <a:t> &amp; </a:t>
            </a:r>
            <a:r>
              <a:rPr lang="en-GB" sz="1400" err="1">
                <a:solidFill>
                  <a:schemeClr val="tx1"/>
                </a:solidFill>
              </a:rPr>
              <a:t>utbildningar</a:t>
            </a:r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46013E2-5F28-38F2-238D-A73D7BFAC890}"/>
              </a:ext>
            </a:extLst>
          </p:cNvPr>
          <p:cNvSpPr txBox="1">
            <a:spLocks/>
          </p:cNvSpPr>
          <p:nvPr userDrawn="1"/>
        </p:nvSpPr>
        <p:spPr>
          <a:xfrm>
            <a:off x="7921537" y="4986434"/>
            <a:ext cx="2076996" cy="2648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fontAlgn="ctr" latinLnBrk="0" hangingPunct="1">
              <a:lnSpc>
                <a:spcPts val="2200"/>
              </a:lnSpc>
              <a:spcBef>
                <a:spcPts val="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80000" indent="-180000" algn="l" defTabSz="914400" rtl="0" eaLnBrk="1" fontAlgn="ctr" latinLnBrk="0" hangingPunct="1">
              <a:lnSpc>
                <a:spcPts val="22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None/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7pPr>
            <a:lvl8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8pPr>
            <a:lvl9pPr marL="0" indent="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65000"/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9pPr>
          </a:lstStyle>
          <a:p>
            <a:pPr marL="180000" indent="-180000">
              <a:lnSpc>
                <a:spcPts val="1800"/>
              </a:lnSpc>
              <a:buFontTx/>
              <a:buBlip>
                <a:blip r:embed="rId3"/>
              </a:buBlip>
            </a:pPr>
            <a:r>
              <a:rPr lang="en-GB" sz="1400" err="1">
                <a:solidFill>
                  <a:schemeClr val="tx1"/>
                </a:solidFill>
              </a:rPr>
              <a:t>Övriga</a:t>
            </a:r>
            <a:r>
              <a:rPr lang="en-GB" sz="1400">
                <a:solidFill>
                  <a:schemeClr val="tx1"/>
                </a:solidFill>
              </a:rPr>
              <a:t> </a:t>
            </a:r>
            <a:r>
              <a:rPr lang="en-GB" sz="1400" err="1">
                <a:solidFill>
                  <a:schemeClr val="tx1"/>
                </a:solidFill>
              </a:rPr>
              <a:t>aktiviteter</a:t>
            </a:r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B75569B-2DBD-8063-0213-98E33C15D0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t>2025-09-17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7C5C8C-0EFB-128B-D80F-D894D2DBA23C}"/>
              </a:ext>
            </a:extLst>
          </p:cNvPr>
          <p:cNvSpPr txBox="1"/>
          <p:nvPr userDrawn="1"/>
        </p:nvSpPr>
        <p:spPr>
          <a:xfrm>
            <a:off x="420188" y="298509"/>
            <a:ext cx="280924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800" b="1" i="0" err="1">
                <a:latin typeface="Roboto Slab" pitchFamily="2" charset="0"/>
                <a:ea typeface="Roboto Slab" pitchFamily="2" charset="0"/>
              </a:rPr>
              <a:t>Omegapoint</a:t>
            </a:r>
            <a:r>
              <a:rPr lang="en-GB" sz="800" b="1" i="0">
                <a:latin typeface="Roboto Slab" pitchFamily="2" charset="0"/>
                <a:ea typeface="Roboto Slab" pitchFamily="2" charset="0"/>
              </a:rPr>
              <a:t> </a:t>
            </a:r>
            <a:r>
              <a:rPr lang="en-GB" sz="800" b="1" i="0" err="1">
                <a:latin typeface="Roboto Slab" pitchFamily="2" charset="0"/>
                <a:ea typeface="Roboto Slab" pitchFamily="2" charset="0"/>
              </a:rPr>
              <a:t>Göteborg</a:t>
            </a:r>
            <a:endParaRPr lang="en-GB" sz="800" b="1" i="0"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7" name="Picture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616257F-9481-E672-5869-1AB3B69CDA5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962208" y="6000700"/>
            <a:ext cx="2743200" cy="526694"/>
          </a:xfrm>
          <a:prstGeom prst="rect">
            <a:avLst/>
          </a:prstGeom>
        </p:spPr>
      </p:pic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275E1123-87C7-6D2F-4AAB-5B9EAA40DB3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38151" y="1407790"/>
            <a:ext cx="115697" cy="306901"/>
          </a:xfrm>
          <a:prstGeom prst="parallelogram">
            <a:avLst/>
          </a:prstGeom>
          <a:solidFill>
            <a:schemeClr val="tx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312649230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zation_warm_grey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66F332C-6852-7830-BD91-7E7F247B8F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114300">
            <a:solidFill>
              <a:schemeClr val="accent6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B75569B-2DBD-8063-0213-98E33C15D0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t>2025-09-17</a:t>
            </a:fld>
            <a:endParaRPr lang="en-GB"/>
          </a:p>
        </p:txBody>
      </p:sp>
      <p:pic>
        <p:nvPicPr>
          <p:cNvPr id="7" name="Picture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616257F-9481-E672-5869-1AB3B69CDA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62208" y="6000700"/>
            <a:ext cx="2743200" cy="52669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CA2E12B-E691-BFA6-0D08-53AA448890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2494073"/>
            <a:ext cx="6035040" cy="1320189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971EEA8-EAED-689E-0B0F-172753E3F5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78163" y="3431075"/>
            <a:ext cx="6035675" cy="830262"/>
          </a:xfrm>
        </p:spPr>
        <p:txBody>
          <a:bodyPr/>
          <a:lstStyle>
            <a:lvl1pPr marL="180000" indent="-180000" algn="ctr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3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1pPr>
            <a:lvl2pPr marL="180000" indent="-180000" algn="ctr" fontAlgn="ctr">
              <a:lnSpc>
                <a:spcPts val="2200"/>
              </a:lnSpc>
              <a:spcBef>
                <a:spcPts val="600"/>
              </a:spcBef>
              <a:buSzPct val="65000"/>
              <a:buFontTx/>
              <a:buBlip>
                <a:blip r:embed="rId4"/>
              </a:buBlip>
              <a:tabLst>
                <a:tab pos="180000" algn="l"/>
              </a:tabLst>
              <a:defRPr sz="1800">
                <a:solidFill>
                  <a:schemeClr val="tx1"/>
                </a:solidFill>
              </a:defRPr>
            </a:lvl2pPr>
            <a:lvl3pPr marL="0" indent="-180000" algn="ctr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3pPr>
            <a:lvl4pPr marL="0" indent="-180000" algn="ctr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4pPr>
            <a:lvl5pPr marL="0" indent="-180000" algn="ctr" fontAlgn="ctr">
              <a:lnSpc>
                <a:spcPts val="2200"/>
              </a:lnSpc>
              <a:spcBef>
                <a:spcPts val="600"/>
              </a:spcBef>
              <a:buSzPct val="65000"/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</a:t>
            </a:r>
            <a:br>
              <a:rPr lang="en-US"/>
            </a:br>
            <a:r>
              <a:rPr lang="en-US"/>
              <a:t>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AEF3B7F-4272-E624-FF60-B186ACD9E1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38151" y="1908832"/>
            <a:ext cx="115697" cy="306901"/>
          </a:xfrm>
          <a:prstGeom prst="parallelogram">
            <a:avLst/>
          </a:prstGeom>
          <a:solidFill>
            <a:schemeClr val="tx1"/>
          </a:solidFill>
        </p:spPr>
        <p:txBody>
          <a:bodyPr wrap="none" lIns="36000" tIns="36000" rIns="36000" bIns="18000" anchor="ctr" anchorCtr="0">
            <a:spAutoFit/>
          </a:bodyPr>
          <a:lstStyle>
            <a:lvl1pPr marL="0" indent="0" algn="l">
              <a:buFontTx/>
              <a:buNone/>
              <a:defRPr sz="1000" kern="1000" spc="1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87528727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Imag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picture containing building, roof&#10;&#10;Description automatically generated">
            <a:extLst>
              <a:ext uri="{FF2B5EF4-FFF2-40B4-BE49-F238E27FC236}">
                <a16:creationId xmlns:a16="http://schemas.microsoft.com/office/drawing/2014/main" id="{18B058FC-D709-DC41-855A-80B60BD39E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t="32110" r="-1" b="3039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DB896BB-4EAF-9C61-715A-ADD19763C9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A830F7F-0C6D-07D6-710A-74E3D5F0AA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pPr/>
              <a:t>2025-09-17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DF29DBE-C81A-2BE6-B851-FB812740D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962209" y="6000700"/>
            <a:ext cx="2743197" cy="52669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6ED414C-6539-C0C9-28EF-43F5691A92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93817" y="1714580"/>
            <a:ext cx="6035040" cy="945493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ts val="36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3BD5B9E-1D84-88AF-4586-550D3AA9C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93817" y="2749778"/>
            <a:ext cx="2700000" cy="1692000"/>
          </a:xfrm>
        </p:spPr>
        <p:txBody>
          <a:bodyPr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1200"/>
              </a:spcAft>
              <a:buNone/>
              <a:defRPr sz="2000" b="1" i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defRPr>
            </a:lvl1pPr>
            <a:lvl2pPr marL="180000" indent="-18000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Tx/>
              <a:buBlip>
                <a:blip r:embed="rId4"/>
              </a:buBlip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180000" indent="-18000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Tx/>
              <a:buBlip>
                <a:blip r:embed="rId5"/>
              </a:buBlip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0" indent="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0" indent="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B82363E-3266-2A02-9CC3-035EBD6F59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51650" y="2749778"/>
            <a:ext cx="2700000" cy="1692000"/>
          </a:xfrm>
        </p:spPr>
        <p:txBody>
          <a:bodyPr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1200"/>
              </a:spcAft>
              <a:buNone/>
              <a:defRPr sz="2000" b="1" i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defRPr>
            </a:lvl1pPr>
            <a:lvl2pPr marL="180000" indent="-18000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Tx/>
              <a:buBlip>
                <a:blip r:embed="rId4"/>
              </a:buBlip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180000" indent="-18000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Tx/>
              <a:buBlip>
                <a:blip r:embed="rId5"/>
              </a:buBlip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0" indent="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0" indent="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F94AF4F7-01D0-F42B-34D6-568A92933C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19314" y="2749778"/>
            <a:ext cx="2700000" cy="1692000"/>
          </a:xfrm>
        </p:spPr>
        <p:txBody>
          <a:bodyPr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1200"/>
              </a:spcAft>
              <a:buNone/>
              <a:defRPr sz="2000" b="1" i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defRPr>
            </a:lvl1pPr>
            <a:lvl2pPr marL="180000" indent="-18000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Tx/>
              <a:buBlip>
                <a:blip r:embed="rId4"/>
              </a:buBlip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180000" indent="-18000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Tx/>
              <a:buBlip>
                <a:blip r:embed="rId5"/>
              </a:buBlip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0" indent="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0" indent="0" fontAlgn="ctr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SzPct val="65000"/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2440019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82969FD-D9D5-DC09-45A8-989E9BB6EEB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2160000"/>
          </a:xfrm>
          <a:solidFill>
            <a:schemeClr val="tx1"/>
          </a:solidFill>
        </p:spPr>
        <p:txBody>
          <a:bodyPr/>
          <a:lstStyle>
            <a:lvl1pPr>
              <a:defRPr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A51D0864-8B8D-D760-2516-447F1E82C7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188" y="498475"/>
            <a:ext cx="2743200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8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51CFB555-A1D8-8446-9F94-E88DE709FEF9}" type="datetime1">
              <a:rPr lang="sv-SE" smtClean="0"/>
              <a:pPr/>
              <a:t>2025-09-17</a:t>
            </a:fld>
            <a:endParaRPr lang="en-GB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ADFD04-9FB5-3D60-9D71-B638F46B006B}"/>
              </a:ext>
            </a:extLst>
          </p:cNvPr>
          <p:cNvSpPr txBox="1"/>
          <p:nvPr userDrawn="1"/>
        </p:nvSpPr>
        <p:spPr>
          <a:xfrm>
            <a:off x="420188" y="298509"/>
            <a:ext cx="2809240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800" b="1" i="0" err="1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Omegapoint</a:t>
            </a:r>
            <a:r>
              <a:rPr lang="en-GB" sz="800" b="1" i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 </a:t>
            </a:r>
            <a:r>
              <a:rPr lang="en-GB" sz="800" b="1" i="0" err="1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Göteborg</a:t>
            </a:r>
            <a:endParaRPr lang="en-GB" sz="800" b="1" i="0">
              <a:solidFill>
                <a:schemeClr val="bg1"/>
              </a:solidFill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20" name="Picture 19" descr="Shape&#10;&#10;Description automatically generated with medium confidence">
            <a:extLst>
              <a:ext uri="{FF2B5EF4-FFF2-40B4-BE49-F238E27FC236}">
                <a16:creationId xmlns:a16="http://schemas.microsoft.com/office/drawing/2014/main" id="{59D638F8-4508-23EA-24D2-7A29DEB392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62208" y="6000700"/>
            <a:ext cx="2743200" cy="5266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3CE8E63-3440-339A-7567-9B6702017C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2091" y="1529363"/>
            <a:ext cx="7053943" cy="830604"/>
          </a:xfrm>
          <a:solidFill>
            <a:schemeClr val="bg1"/>
          </a:solidFill>
        </p:spPr>
        <p:txBody>
          <a:bodyPr wrap="square" lIns="216000" tIns="216000" rIns="216000" bIns="216000" anchor="t" anchorCtr="0">
            <a:noAutofit/>
          </a:bodyPr>
          <a:lstStyle>
            <a:lvl1pPr algn="ctr">
              <a:defRPr sz="4000"/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59E878A-1998-3156-0F34-6ABD8D43C7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157" y="4354653"/>
            <a:ext cx="3240000" cy="809625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2pPr>
            <a:lvl3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3pPr>
            <a:lvl4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4pPr>
            <a:lvl5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9EFB72B-02F1-AF33-A64D-4979B7333C2F}"/>
              </a:ext>
            </a:extLst>
          </p:cNvPr>
          <p:cNvCxnSpPr>
            <a:cxnSpLocks/>
          </p:cNvCxnSpPr>
          <p:nvPr userDrawn="1"/>
        </p:nvCxnSpPr>
        <p:spPr>
          <a:xfrm>
            <a:off x="4284617" y="3428998"/>
            <a:ext cx="0" cy="2232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B9F9C33-0E59-190D-D78C-649469EF3AFC}"/>
              </a:ext>
            </a:extLst>
          </p:cNvPr>
          <p:cNvCxnSpPr>
            <a:cxnSpLocks/>
          </p:cNvCxnSpPr>
          <p:nvPr userDrawn="1"/>
        </p:nvCxnSpPr>
        <p:spPr>
          <a:xfrm>
            <a:off x="7929156" y="3429000"/>
            <a:ext cx="0" cy="2232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53C8AFBD-38A1-8639-A518-B5F7EF5F63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89063" y="4354653"/>
            <a:ext cx="3240000" cy="809625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2pPr>
            <a:lvl3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3pPr>
            <a:lvl4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4pPr>
            <a:lvl5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43BFA365-C5B2-3967-980E-3EC9AD899B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36969" y="4354653"/>
            <a:ext cx="3240000" cy="809625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2pPr>
            <a:lvl3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3pPr>
            <a:lvl4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4pPr>
            <a:lvl5pPr marL="0" indent="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99F5A46-DC25-0480-676C-B231FED8DD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1157" y="3854625"/>
            <a:ext cx="3239274" cy="692150"/>
          </a:xfrm>
        </p:spPr>
        <p:txBody>
          <a:bodyPr/>
          <a:lstStyle>
            <a:lvl1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1pPr>
            <a:lvl2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2pPr>
            <a:lvl3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3pPr>
            <a:lvl4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4pPr>
            <a:lvl5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25CDCCF7-15AD-DEB0-2473-513B8A4865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89063" y="3854625"/>
            <a:ext cx="3239274" cy="692150"/>
          </a:xfrm>
        </p:spPr>
        <p:txBody>
          <a:bodyPr/>
          <a:lstStyle>
            <a:lvl1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1pPr>
            <a:lvl2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2pPr>
            <a:lvl3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3pPr>
            <a:lvl4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4pPr>
            <a:lvl5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4F42D512-2CDC-9A32-6559-264A44C91E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36969" y="3854625"/>
            <a:ext cx="3239274" cy="692150"/>
          </a:xfrm>
        </p:spPr>
        <p:txBody>
          <a:bodyPr/>
          <a:lstStyle>
            <a:lvl1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1pPr>
            <a:lvl2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2pPr>
            <a:lvl3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3pPr>
            <a:lvl4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4pPr>
            <a:lvl5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2400" b="0" i="0">
                <a:solidFill>
                  <a:schemeClr val="tx1"/>
                </a:solidFill>
                <a:latin typeface="Roboto Slab" pitchFamily="2" charset="0"/>
                <a:ea typeface="Roboto Slab" pitchFamily="2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78784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7DA8CF98-5DE0-754E-8460-2CF995C9E5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A785E0B9-26B6-7C44-93E1-B991FE1F7F6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363961932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ky, outdoor, several&#10;&#10;Description automatically generated">
            <a:extLst>
              <a:ext uri="{FF2B5EF4-FFF2-40B4-BE49-F238E27FC236}">
                <a16:creationId xmlns:a16="http://schemas.microsoft.com/office/drawing/2014/main" id="{21A1829B-4737-1EA0-73DB-D957FBECCF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054" b="1184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A1F813D2-97BA-414E-1A13-ABEEB5115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-3537"/>
          <a:stretch/>
        </p:blipFill>
        <p:spPr>
          <a:xfrm>
            <a:off x="3507618" y="1917934"/>
            <a:ext cx="5202889" cy="2911653"/>
          </a:xfrm>
          <a:prstGeom prst="rect">
            <a:avLst/>
          </a:prstGeom>
        </p:spPr>
      </p:pic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75BDA380-7475-7362-4353-42656B4EAF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76000" y="5573853"/>
            <a:ext cx="3240000" cy="809625"/>
          </a:xfrm>
        </p:spPr>
        <p:txBody>
          <a:bodyPr/>
          <a:lstStyle>
            <a:lvl1pPr marL="0" indent="0" algn="ctr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 algn="ctr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4pPr>
            <a:lvl5pPr marL="0" indent="0" algn="ctr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8535975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0E696A02-134A-807E-89E3-6598AC6E3D34}"/>
              </a:ext>
            </a:extLst>
          </p:cNvPr>
          <p:cNvSpPr txBox="1"/>
          <p:nvPr userDrawn="1"/>
        </p:nvSpPr>
        <p:spPr>
          <a:xfrm>
            <a:off x="744071" y="140297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latin typeface="Roboto" panose="02000000000000000000" pitchFamily="2" charset="0"/>
                <a:ea typeface="Roboto" panose="02000000000000000000" pitchFamily="2" charset="0"/>
              </a:rPr>
              <a:t>Warm gre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9F4B681-62D7-292F-6818-BC6560854409}"/>
              </a:ext>
            </a:extLst>
          </p:cNvPr>
          <p:cNvSpPr txBox="1"/>
          <p:nvPr userDrawn="1"/>
        </p:nvSpPr>
        <p:spPr>
          <a:xfrm>
            <a:off x="1917187" y="140297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latin typeface="Roboto" panose="02000000000000000000" pitchFamily="2" charset="0"/>
                <a:ea typeface="Roboto" panose="02000000000000000000" pitchFamily="2" charset="0"/>
              </a:rPr>
              <a:t>Omega su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6949887-5A7C-1923-9A9C-AA017B9DC96F}"/>
              </a:ext>
            </a:extLst>
          </p:cNvPr>
          <p:cNvSpPr txBox="1"/>
          <p:nvPr userDrawn="1"/>
        </p:nvSpPr>
        <p:spPr>
          <a:xfrm>
            <a:off x="3090303" y="140297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latin typeface="Roboto" panose="02000000000000000000" pitchFamily="2" charset="0"/>
                <a:ea typeface="Roboto" panose="02000000000000000000" pitchFamily="2" charset="0"/>
              </a:rPr>
              <a:t>Tang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A0727E-5EC8-2B5B-CA06-18AC5CC32DE9}"/>
              </a:ext>
            </a:extLst>
          </p:cNvPr>
          <p:cNvSpPr txBox="1"/>
          <p:nvPr userDrawn="1"/>
        </p:nvSpPr>
        <p:spPr>
          <a:xfrm>
            <a:off x="4263419" y="140297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latin typeface="Roboto" panose="02000000000000000000" pitchFamily="2" charset="0"/>
                <a:ea typeface="Roboto" panose="02000000000000000000" pitchFamily="2" charset="0"/>
              </a:rPr>
              <a:t>Petroleu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32ED095-44ED-87E9-3CAA-94C8E6F869C9}"/>
              </a:ext>
            </a:extLst>
          </p:cNvPr>
          <p:cNvSpPr txBox="1"/>
          <p:nvPr userDrawn="1"/>
        </p:nvSpPr>
        <p:spPr>
          <a:xfrm>
            <a:off x="5436535" y="140297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latin typeface="Roboto" panose="02000000000000000000" pitchFamily="2" charset="0"/>
                <a:ea typeface="Roboto" panose="02000000000000000000" pitchFamily="2" charset="0"/>
              </a:rPr>
              <a:t>Marin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249DA0B-B1C1-12AB-89D4-853C7390F8B3}"/>
              </a:ext>
            </a:extLst>
          </p:cNvPr>
          <p:cNvSpPr txBox="1"/>
          <p:nvPr userDrawn="1"/>
        </p:nvSpPr>
        <p:spPr>
          <a:xfrm>
            <a:off x="6609651" y="140297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latin typeface="Roboto" panose="02000000000000000000" pitchFamily="2" charset="0"/>
                <a:ea typeface="Roboto" panose="02000000000000000000" pitchFamily="2" charset="0"/>
              </a:rPr>
              <a:t>Mine shaf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95C93F4-B3E8-24D6-ADEF-8F304621D1B4}"/>
              </a:ext>
            </a:extLst>
          </p:cNvPr>
          <p:cNvSpPr txBox="1"/>
          <p:nvPr userDrawn="1"/>
        </p:nvSpPr>
        <p:spPr>
          <a:xfrm>
            <a:off x="7782767" y="140297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latin typeface="Roboto" panose="02000000000000000000" pitchFamily="2" charset="0"/>
                <a:ea typeface="Roboto" panose="02000000000000000000" pitchFamily="2" charset="0"/>
              </a:rPr>
              <a:t>Black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9B8EED8-3D38-794A-7411-9C23B24A1175}"/>
              </a:ext>
            </a:extLst>
          </p:cNvPr>
          <p:cNvSpPr txBox="1"/>
          <p:nvPr userDrawn="1"/>
        </p:nvSpPr>
        <p:spPr>
          <a:xfrm>
            <a:off x="8955882" y="140297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latin typeface="Roboto" panose="02000000000000000000" pitchFamily="2" charset="0"/>
                <a:ea typeface="Roboto" panose="02000000000000000000" pitchFamily="2" charset="0"/>
              </a:rPr>
              <a:t>White</a:t>
            </a: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3EBCCE5-462A-8600-DB3F-EA2BCDF43E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4071" y="1695772"/>
            <a:ext cx="878400" cy="878400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35" name="Picture Placeholder 33">
            <a:extLst>
              <a:ext uri="{FF2B5EF4-FFF2-40B4-BE49-F238E27FC236}">
                <a16:creationId xmlns:a16="http://schemas.microsoft.com/office/drawing/2014/main" id="{75C0CB2A-A41A-DC42-F219-B36B304AE6D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17187" y="1695772"/>
            <a:ext cx="878400" cy="878400"/>
          </a:xfrm>
          <a:prstGeom prst="ellipse">
            <a:avLst/>
          </a:prstGeom>
          <a:solidFill>
            <a:srgbClr val="F9BC2E"/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36" name="Picture Placeholder 33">
            <a:extLst>
              <a:ext uri="{FF2B5EF4-FFF2-40B4-BE49-F238E27FC236}">
                <a16:creationId xmlns:a16="http://schemas.microsoft.com/office/drawing/2014/main" id="{05E09F40-E238-CA2B-0652-06BEE50454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090303" y="1695772"/>
            <a:ext cx="878400" cy="8784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37" name="Picture Placeholder 33">
            <a:extLst>
              <a:ext uri="{FF2B5EF4-FFF2-40B4-BE49-F238E27FC236}">
                <a16:creationId xmlns:a16="http://schemas.microsoft.com/office/drawing/2014/main" id="{61AD78EE-CB69-F83C-5429-4FD189DAA9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63419" y="1695772"/>
            <a:ext cx="878400" cy="878400"/>
          </a:xfrm>
          <a:prstGeom prst="ellipse">
            <a:avLst/>
          </a:prstGeom>
          <a:solidFill>
            <a:schemeClr val="accent3"/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38" name="Picture Placeholder 33">
            <a:extLst>
              <a:ext uri="{FF2B5EF4-FFF2-40B4-BE49-F238E27FC236}">
                <a16:creationId xmlns:a16="http://schemas.microsoft.com/office/drawing/2014/main" id="{753D3103-3332-90F1-0E26-0F3CA11A6D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36535" y="1695772"/>
            <a:ext cx="878400" cy="8784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39" name="Picture Placeholder 33">
            <a:extLst>
              <a:ext uri="{FF2B5EF4-FFF2-40B4-BE49-F238E27FC236}">
                <a16:creationId xmlns:a16="http://schemas.microsoft.com/office/drawing/2014/main" id="{2836D981-6394-B550-04CF-F4A4A74A7D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09651" y="1695772"/>
            <a:ext cx="878400" cy="8784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0" name="Picture Placeholder 33">
            <a:extLst>
              <a:ext uri="{FF2B5EF4-FFF2-40B4-BE49-F238E27FC236}">
                <a16:creationId xmlns:a16="http://schemas.microsoft.com/office/drawing/2014/main" id="{7F9DF55E-6FB7-BCAA-0D0E-DF13A98ECC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82767" y="1695772"/>
            <a:ext cx="878400" cy="878400"/>
          </a:xfrm>
          <a:prstGeom prst="ellipse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1" name="Picture Placeholder 33">
            <a:extLst>
              <a:ext uri="{FF2B5EF4-FFF2-40B4-BE49-F238E27FC236}">
                <a16:creationId xmlns:a16="http://schemas.microsoft.com/office/drawing/2014/main" id="{13A1F979-4862-5DD0-AB4E-351C27A9A5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55882" y="1695772"/>
            <a:ext cx="878400" cy="87840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2" name="Picture Placeholder 33">
            <a:extLst>
              <a:ext uri="{FF2B5EF4-FFF2-40B4-BE49-F238E27FC236}">
                <a16:creationId xmlns:a16="http://schemas.microsoft.com/office/drawing/2014/main" id="{847977B8-75E1-B47A-3E75-A515219C13E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44071" y="3195125"/>
            <a:ext cx="878400" cy="878400"/>
          </a:xfrm>
          <a:prstGeom prst="ellipse">
            <a:avLst/>
          </a:prstGeom>
          <a:solidFill>
            <a:srgbClr val="D7D2CB">
              <a:alpha val="25098"/>
            </a:srgbClr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3" name="Picture Placeholder 33">
            <a:extLst>
              <a:ext uri="{FF2B5EF4-FFF2-40B4-BE49-F238E27FC236}">
                <a16:creationId xmlns:a16="http://schemas.microsoft.com/office/drawing/2014/main" id="{C0A36365-7309-6637-10BA-3C45EBA8B43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917187" y="3195125"/>
            <a:ext cx="878400" cy="878400"/>
          </a:xfrm>
          <a:prstGeom prst="ellipse">
            <a:avLst/>
          </a:prstGeom>
          <a:solidFill>
            <a:srgbClr val="F9BC2E">
              <a:alpha val="50196"/>
            </a:srgbClr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4" name="Picture Placeholder 33">
            <a:extLst>
              <a:ext uri="{FF2B5EF4-FFF2-40B4-BE49-F238E27FC236}">
                <a16:creationId xmlns:a16="http://schemas.microsoft.com/office/drawing/2014/main" id="{45227E49-E3BB-A4A9-10F2-DD5DC2E0C9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090303" y="3195125"/>
            <a:ext cx="878400" cy="878400"/>
          </a:xfrm>
          <a:prstGeom prst="ellipse">
            <a:avLst/>
          </a:prstGeom>
          <a:solidFill>
            <a:srgbClr val="E87722">
              <a:alpha val="80000"/>
            </a:srgbClr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5" name="Picture Placeholder 33">
            <a:extLst>
              <a:ext uri="{FF2B5EF4-FFF2-40B4-BE49-F238E27FC236}">
                <a16:creationId xmlns:a16="http://schemas.microsoft.com/office/drawing/2014/main" id="{CA476CFF-A67F-7EDA-52EF-A78E8162F1D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263419" y="3195125"/>
            <a:ext cx="878400" cy="878400"/>
          </a:xfrm>
          <a:prstGeom prst="ellipse">
            <a:avLst/>
          </a:prstGeom>
          <a:solidFill>
            <a:srgbClr val="286166">
              <a:alpha val="60000"/>
            </a:srgbClr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6" name="Picture Placeholder 33">
            <a:extLst>
              <a:ext uri="{FF2B5EF4-FFF2-40B4-BE49-F238E27FC236}">
                <a16:creationId xmlns:a16="http://schemas.microsoft.com/office/drawing/2014/main" id="{61477F67-BCD8-9A19-5FEE-82D6A23447A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436535" y="3195125"/>
            <a:ext cx="878400" cy="878400"/>
          </a:xfrm>
          <a:prstGeom prst="ellipse">
            <a:avLst/>
          </a:prstGeom>
          <a:solidFill>
            <a:srgbClr val="003348">
              <a:alpha val="80000"/>
            </a:srgbClr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7" name="Picture Placeholder 33">
            <a:extLst>
              <a:ext uri="{FF2B5EF4-FFF2-40B4-BE49-F238E27FC236}">
                <a16:creationId xmlns:a16="http://schemas.microsoft.com/office/drawing/2014/main" id="{640CFD79-9B37-8242-AF6B-7A195C48D27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609651" y="3195125"/>
            <a:ext cx="878400" cy="878400"/>
          </a:xfrm>
          <a:prstGeom prst="ellipse">
            <a:avLst/>
          </a:prstGeom>
          <a:solidFill>
            <a:srgbClr val="383838">
              <a:alpha val="80000"/>
            </a:srgbClr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9D3230D-179B-3BF3-8525-EC79EDB31E9F}"/>
              </a:ext>
            </a:extLst>
          </p:cNvPr>
          <p:cNvSpPr txBox="1"/>
          <p:nvPr userDrawn="1"/>
        </p:nvSpPr>
        <p:spPr>
          <a:xfrm>
            <a:off x="744071" y="290044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5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71DE067-DFF1-9A0F-82A6-2132CB36958A}"/>
              </a:ext>
            </a:extLst>
          </p:cNvPr>
          <p:cNvSpPr txBox="1"/>
          <p:nvPr userDrawn="1"/>
        </p:nvSpPr>
        <p:spPr>
          <a:xfrm>
            <a:off x="1917187" y="290044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5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5D363F5-77AD-D1D7-5F97-98A307361E76}"/>
              </a:ext>
            </a:extLst>
          </p:cNvPr>
          <p:cNvSpPr txBox="1"/>
          <p:nvPr userDrawn="1"/>
        </p:nvSpPr>
        <p:spPr>
          <a:xfrm>
            <a:off x="3090303" y="290044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80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E6B0571-F553-CEBA-7309-4D5D59EA4718}"/>
              </a:ext>
            </a:extLst>
          </p:cNvPr>
          <p:cNvSpPr txBox="1"/>
          <p:nvPr userDrawn="1"/>
        </p:nvSpPr>
        <p:spPr>
          <a:xfrm>
            <a:off x="4263419" y="290044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60%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7FE12FE-0D3B-3242-4413-903DCF7CD5B7}"/>
              </a:ext>
            </a:extLst>
          </p:cNvPr>
          <p:cNvSpPr txBox="1"/>
          <p:nvPr userDrawn="1"/>
        </p:nvSpPr>
        <p:spPr>
          <a:xfrm>
            <a:off x="5436535" y="290044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80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B44CBB1-65FE-6469-0D72-F5F28665B4B3}"/>
              </a:ext>
            </a:extLst>
          </p:cNvPr>
          <p:cNvSpPr txBox="1"/>
          <p:nvPr userDrawn="1"/>
        </p:nvSpPr>
        <p:spPr>
          <a:xfrm>
            <a:off x="6609651" y="2900447"/>
            <a:ext cx="878400" cy="206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80%</a:t>
            </a:r>
          </a:p>
        </p:txBody>
      </p:sp>
    </p:spTree>
    <p:extLst>
      <p:ext uri="{BB962C8B-B14F-4D97-AF65-F5344CB8AC3E}">
        <p14:creationId xmlns:p14="http://schemas.microsoft.com/office/powerpoint/2010/main" val="3451101984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EE91DD4-5AB3-4807-B1FE-1F14739486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7998" y="2160000"/>
            <a:ext cx="5256000" cy="3924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4305D725-FB84-4611-909A-2E600571AEE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095994" y="2160000"/>
            <a:ext cx="5256000" cy="3924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Underrubrik 2">
            <a:extLst>
              <a:ext uri="{FF2B5EF4-FFF2-40B4-BE49-F238E27FC236}">
                <a16:creationId xmlns:a16="http://schemas.microsoft.com/office/drawing/2014/main" id="{B6A0F63D-3889-4182-B301-45AD2381F46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66724" y="335779"/>
            <a:ext cx="5629275" cy="252000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000" b="0" cap="all" spc="4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ch skriv överrubrik</a:t>
            </a: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FE0D0FF7-D9E0-4716-B540-38D7CBFE1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684000"/>
            <a:ext cx="8208000" cy="1080000"/>
          </a:xfrm>
        </p:spPr>
        <p:txBody>
          <a:bodyPr/>
          <a:lstStyle/>
          <a:p>
            <a:r>
              <a:rPr lang="sv-SE"/>
              <a:t>Klicka för att lägga till rubrik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B07558ED-8289-4FCA-AC16-753B2A7B82F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sv-SE"/>
              <a:t>Namn på presentationen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1459F67-9FE0-40F0-B8F2-815989170D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9578386-84DA-45F9-ABB1-FE09AA2697D8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27706808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bild - Mar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33FA9A5-34A0-47B3-B4B9-D66A9DF056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6726" y="1738039"/>
            <a:ext cx="5446396" cy="969962"/>
          </a:xfrm>
        </p:spPr>
        <p:txBody>
          <a:bodyPr anchor="t" anchorCtr="0">
            <a:no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9F3CF07-C72F-412F-9119-968D1DE724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6725" y="2813080"/>
            <a:ext cx="5446396" cy="61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DDAAFCB8-0B57-4829-B66F-C95093A4F9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6725" y="1302248"/>
            <a:ext cx="5446396" cy="342733"/>
          </a:xfrm>
        </p:spPr>
        <p:txBody>
          <a:bodyPr anchor="b" anchorCtr="0">
            <a:noAutofit/>
          </a:bodyPr>
          <a:lstStyle>
            <a:lvl1pPr marL="0" indent="0">
              <a:buNone/>
              <a:defRPr sz="1000" cap="all" spc="4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Presentationens namn</a:t>
            </a:r>
          </a:p>
        </p:txBody>
      </p:sp>
    </p:spTree>
    <p:extLst>
      <p:ext uri="{BB962C8B-B14F-4D97-AF65-F5344CB8AC3E}">
        <p14:creationId xmlns:p14="http://schemas.microsoft.com/office/powerpoint/2010/main" val="215890680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2E469-3C16-3055-91AD-0E8665F0E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AC83CF-1376-49D7-C2B0-71C1FE7E99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DE8440-8B78-3FF3-952D-845EB3FFEC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ECE0E9-82D1-3F93-5CB7-BFE4F847B9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F416AD-19B3-ACC9-8339-6EDE4F73FD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495441018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C21D7C-6F53-1755-E5CD-91F9AED44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F477D3-C284-5B14-CF37-731EBD8E65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DCB6F9-5F57-C062-F069-171CA7B78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E80CCC-53C7-B551-7AAA-4CF5904F1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05C7E-EACB-9607-9505-1CFD46E9C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129740427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C021-7DDC-4C61-F4E0-DD7C345BB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C5CAE7-0E3F-B1D9-070E-B43E04771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7BAFAE-1918-7626-CB3F-DFA4E338C7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A744FA-52B1-3B66-88B7-5229AD7C2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4ACF74-8BD9-90DD-F289-BE0C9E74B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836772979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0D1A7-CA5E-C6E2-608F-6ECDEB758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D2A453-15FE-3076-C6C8-03FD96598F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CE7C9B-A3B6-6093-BDFB-118ED82AE1E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B3A6AF-FA5D-C31C-A194-F97DCAC5A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FD158F-169B-59C4-0025-F350A6224A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E20C44-BB83-0667-7FB3-ABFC2FA8A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025745537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8FFE5D-8724-1235-A3D9-FBAFCF141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8E0097-14CC-AC96-E69F-FFB41519B8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43BB50-8840-ACF6-3B31-8EA1D6E3F8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3111F3-4EE1-DD70-12EB-3FDE3746DD9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0591BA-320A-37C9-7504-79564085E73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77C9B7C-A19B-DE6D-CDB7-A974C9C81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F1E502-0B05-EE21-88FE-4557F2202B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8DA843B-8219-F45A-49E1-296F933B6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909867662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D96F90-BF53-7C62-BC94-F70CC30A2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6BC1F5-914E-1486-B3CD-70D045A81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84CBD7-A4CA-31D3-6DC0-08A62F8A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5DC0F0-72DF-D770-44E4-10809547A6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8865924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örsätt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7">
            <a:extLst>
              <a:ext uri="{FF2B5EF4-FFF2-40B4-BE49-F238E27FC236}">
                <a16:creationId xmlns:a16="http://schemas.microsoft.com/office/drawing/2014/main" id="{2BE6A008-FE08-EE44-ADEF-8E288DE0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732" y="2492546"/>
            <a:ext cx="5092536" cy="1981395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195820193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C41587F-27ED-BC2C-2F96-12DE62754D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725E3D-AAFA-11AD-3E0E-111F6A787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6EF198-F746-E97E-9DB4-18228A06C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176663194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27C7E-FF03-9133-79D6-7705424DE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42CF87-FAF7-EABA-0BDA-E8BA6CC201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E3ED69-CF65-599B-2D85-6A3DF7D777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1EF141-A443-E68C-A119-63AC730D4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FED320-3376-F0B5-C159-A7774CADB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4E15D5-7CAC-AB45-C83F-71E90262A6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340270904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A49AB-8C7E-CEFA-CF75-088C60129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83C563-F58C-88FA-CF5C-89FBBBF11F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92273C-EEE3-AFF0-D55E-A42E19D889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871D5C-2D33-4464-8BFA-FE1A139E2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3B71EF-5B09-6059-5321-6A71F83591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88BE06-CB62-DCB8-E3B3-59F84D36E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65377345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DFFA3-4DEE-F4AD-C40C-953EDC4C1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3CB73F-00A5-DC39-10C6-C6C87DFD03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E30DBC-894B-F3D5-F61C-61FFF068E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495A00-A27A-8377-DE9B-01408A15B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65EFA0-458A-8D18-1E1A-A79E77D8FD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579759167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D4DB95E-DEB4-7FB8-2CF7-EB4C1BFA07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BD8A2A6-D08B-0D65-AE63-49D1B02D59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0944F6-1EED-596D-F0FD-34440B9D7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B488C-EBA1-89C6-9E26-1AD7E91B3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68625E-75AE-AF29-2DA4-A38C3C8B3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5894990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 9">
            <a:extLst>
              <a:ext uri="{FF2B5EF4-FFF2-40B4-BE49-F238E27FC236}">
                <a16:creationId xmlns:a16="http://schemas.microsoft.com/office/drawing/2014/main" id="{EFCACE07-956B-DE4E-8532-336AFEAE8B44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11" name="Ring 4">
              <a:extLst>
                <a:ext uri="{FF2B5EF4-FFF2-40B4-BE49-F238E27FC236}">
                  <a16:creationId xmlns:a16="http://schemas.microsoft.com/office/drawing/2014/main" id="{B8E967A4-DADC-3E4A-95B8-DF99089FC0A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12" name="Ellips 11">
              <a:extLst>
                <a:ext uri="{FF2B5EF4-FFF2-40B4-BE49-F238E27FC236}">
                  <a16:creationId xmlns:a16="http://schemas.microsoft.com/office/drawing/2014/main" id="{678B354B-7A2F-4E48-BB9C-0F8ACDEF70F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5" name="Underrubrik 2">
            <a:extLst>
              <a:ext uri="{FF2B5EF4-FFF2-40B4-BE49-F238E27FC236}">
                <a16:creationId xmlns:a16="http://schemas.microsoft.com/office/drawing/2014/main" id="{BD97D1C1-D36F-8F4F-914B-341344CF9E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7B5DA94A-F30D-244C-813C-658E94EBA0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37934824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82BC053C-D500-6E4E-946E-BAFA77ABE382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5891384B-1A12-6B4F-B1FA-E0D1984E3186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2F19A5B1-0E9C-9149-9934-65AF9D755C3E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113B8F87-E64E-D64E-8C9E-629038CB93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15355E33-7494-8C4D-A71A-E2AD03A563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</p:spTree>
    <p:extLst>
      <p:ext uri="{BB962C8B-B14F-4D97-AF65-F5344CB8AC3E}">
        <p14:creationId xmlns:p14="http://schemas.microsoft.com/office/powerpoint/2010/main" val="19839841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534584"/>
            <a:ext cx="5386917" cy="641349"/>
          </a:xfrm>
        </p:spPr>
        <p:txBody>
          <a:bodyPr anchor="b">
            <a:noAutofit/>
          </a:bodyPr>
          <a:lstStyle>
            <a:lvl1pPr marL="0" indent="0">
              <a:buNone/>
              <a:defRPr sz="1867" b="1" i="0">
                <a:latin typeface="+mj-lt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600" y="2175935"/>
            <a:ext cx="5386917" cy="3845355"/>
          </a:xfrm>
        </p:spPr>
        <p:txBody>
          <a:bodyPr/>
          <a:lstStyle>
            <a:lvl1pPr>
              <a:defRPr sz="3200">
                <a:latin typeface="+mn-lt"/>
                <a:cs typeface="Arial"/>
              </a:defRPr>
            </a:lvl1pPr>
            <a:lvl2pPr>
              <a:defRPr sz="2667">
                <a:latin typeface="+mn-lt"/>
                <a:cs typeface="Arial"/>
              </a:defRPr>
            </a:lvl2pPr>
            <a:lvl3pPr>
              <a:defRPr sz="2400">
                <a:latin typeface="+mn-lt"/>
                <a:cs typeface="Arial"/>
              </a:defRPr>
            </a:lvl3pPr>
            <a:lvl4pPr>
              <a:defRPr sz="2133">
                <a:latin typeface="+mn-lt"/>
                <a:cs typeface="Arial"/>
              </a:defRPr>
            </a:lvl4pPr>
            <a:lvl5pPr>
              <a:defRPr sz="2133">
                <a:latin typeface="+mn-lt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93368" y="1534584"/>
            <a:ext cx="5389033" cy="641349"/>
          </a:xfrm>
        </p:spPr>
        <p:txBody>
          <a:bodyPr anchor="b">
            <a:noAutofit/>
          </a:bodyPr>
          <a:lstStyle>
            <a:lvl1pPr marL="0" indent="0">
              <a:buNone/>
              <a:defRPr sz="1867" b="1" i="0">
                <a:latin typeface="+mj-lt"/>
                <a:cs typeface="Arial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93368" y="2175935"/>
            <a:ext cx="5389033" cy="3845355"/>
          </a:xfrm>
        </p:spPr>
        <p:txBody>
          <a:bodyPr/>
          <a:lstStyle>
            <a:lvl1pPr>
              <a:defRPr sz="3200">
                <a:latin typeface="+mn-lt"/>
                <a:cs typeface="Arial"/>
              </a:defRPr>
            </a:lvl1pPr>
            <a:lvl2pPr>
              <a:defRPr sz="2667">
                <a:latin typeface="+mn-lt"/>
                <a:cs typeface="Arial"/>
              </a:defRPr>
            </a:lvl2pPr>
            <a:lvl3pPr>
              <a:defRPr sz="2400">
                <a:latin typeface="+mn-lt"/>
                <a:cs typeface="Arial"/>
              </a:defRPr>
            </a:lvl3pPr>
            <a:lvl4pPr>
              <a:defRPr sz="2133">
                <a:latin typeface="+mn-lt"/>
                <a:cs typeface="Arial"/>
              </a:defRPr>
            </a:lvl4pPr>
            <a:lvl5pPr>
              <a:defRPr sz="2133">
                <a:latin typeface="+mn-lt"/>
                <a:cs typeface="Arial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261578D7-DDDA-C54B-9592-51F913B57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DB07D5-C082-A14F-B5B3-95DDA7FE3E89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DD40CAE0-DA1C-414B-8C67-2851A0B47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582BE5C4-26DD-0845-A987-8B40251B0F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3E8C96-65C2-D842-8F37-BDDD0F02BF30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1943253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>
            <a:extLst>
              <a:ext uri="{FF2B5EF4-FFF2-40B4-BE49-F238E27FC236}">
                <a16:creationId xmlns:a16="http://schemas.microsoft.com/office/drawing/2014/main" id="{5302F078-BE45-3145-B850-5BC13A9F6C63}"/>
              </a:ext>
            </a:extLst>
          </p:cNvPr>
          <p:cNvGrpSpPr>
            <a:grpSpLocks noChangeAspect="1"/>
          </p:cNvGrpSpPr>
          <p:nvPr/>
        </p:nvGrpSpPr>
        <p:grpSpPr>
          <a:xfrm>
            <a:off x="-2795742" y="1267355"/>
            <a:ext cx="8639483" cy="5220000"/>
            <a:chOff x="1967279" y="839111"/>
            <a:chExt cx="8538192" cy="5160046"/>
          </a:xfrm>
          <a:solidFill>
            <a:schemeClr val="bg1">
              <a:alpha val="50000"/>
            </a:schemeClr>
          </a:solidFill>
        </p:grpSpPr>
        <p:sp>
          <p:nvSpPr>
            <p:cNvPr id="7" name="Ring 4">
              <a:extLst>
                <a:ext uri="{FF2B5EF4-FFF2-40B4-BE49-F238E27FC236}">
                  <a16:creationId xmlns:a16="http://schemas.microsoft.com/office/drawing/2014/main" id="{40E5CA66-D517-A948-87E3-73DFBB808A23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D20F5BB2-19D2-2049-9339-942F04AF0CED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3" name="Underrubrik 2">
            <a:extLst>
              <a:ext uri="{FF2B5EF4-FFF2-40B4-BE49-F238E27FC236}">
                <a16:creationId xmlns:a16="http://schemas.microsoft.com/office/drawing/2014/main" id="{A75EC33D-1C3E-3549-B0A7-097B3FAD3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66745" y="3414014"/>
            <a:ext cx="7577518" cy="8066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496D2246-8399-B14F-A1B8-831C68338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66745" y="832866"/>
            <a:ext cx="7577518" cy="2387600"/>
          </a:xfrm>
        </p:spPr>
        <p:txBody>
          <a:bodyPr anchor="b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Roboto Medium" panose="02000000000000000000" pitchFamily="2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3404425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8D05E976-6423-7649-B53E-5E4EE6A0B2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0045962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D1DF3290-7E87-D042-8600-6C90E67483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644517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372874"/>
            <a:ext cx="10296524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7" name="Platshållare för text 8">
            <a:extLst>
              <a:ext uri="{FF2B5EF4-FFF2-40B4-BE49-F238E27FC236}">
                <a16:creationId xmlns:a16="http://schemas.microsoft.com/office/drawing/2014/main" id="{2D57B853-D9D7-D642-B60A-A9D1EA0D60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2406650"/>
            <a:ext cx="10296525" cy="395605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02495639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F695FD39-09EB-5141-987E-926403F73A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4165271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A9C8DB5A-A3A1-D943-A9BD-2CF3CEA671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0500056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122363"/>
            <a:ext cx="10296525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3602038"/>
            <a:ext cx="1029652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C86458F5-1D19-2346-953B-712F37848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5442039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679EE11F-D1FA-F645-8C83-9F09C99400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03A3EFB-65CB-0C4B-BD8E-90DFF19E34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9" y="2406650"/>
            <a:ext cx="5329236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5689159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D9B8C736-831B-974C-AEF8-21F72B3C1A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42CE8D85-99BE-D049-8416-39B6EA39E8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1895644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11DB94E-0994-EA45-8133-86C48981E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72874"/>
            <a:ext cx="11017250" cy="1765892"/>
          </a:xfrm>
        </p:spPr>
        <p:txBody>
          <a:bodyPr anchor="b" anchorCtr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73914054-D189-3E43-A14D-D460C1A0E6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2406650"/>
            <a:ext cx="5329238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7656B429-34E8-4B42-A15B-75A2C179BD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5387" y="2406650"/>
            <a:ext cx="5329237" cy="3956050"/>
          </a:xfrm>
        </p:spPr>
        <p:txBody>
          <a:bodyPr/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213914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49EEDAFA-445A-5F4E-871A-5B0380DC3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E7241E-894C-794D-BCD3-63AABD45EF62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4" name="Platshållare för sidfot 4">
            <a:extLst>
              <a:ext uri="{FF2B5EF4-FFF2-40B4-BE49-F238E27FC236}">
                <a16:creationId xmlns:a16="http://schemas.microsoft.com/office/drawing/2014/main" id="{5713218E-A8D2-A54A-9985-7BBBB89886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Platshållare för bildnummer 5">
            <a:extLst>
              <a:ext uri="{FF2B5EF4-FFF2-40B4-BE49-F238E27FC236}">
                <a16:creationId xmlns:a16="http://schemas.microsoft.com/office/drawing/2014/main" id="{6229ECC4-061B-1C44-84C1-A155E2EE9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82D750-4FF7-BE43-8A4F-BA6F5F310CDF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32978500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166609385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64020384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508124"/>
            <a:ext cx="10296525" cy="3489967"/>
          </a:xfrm>
        </p:spPr>
        <p:txBody>
          <a:bodyPr anchor="ctr" anchorCtr="0">
            <a:normAutofit/>
          </a:bodyPr>
          <a:lstStyle>
            <a:lvl1pPr algn="ctr">
              <a:defRPr sz="7000">
                <a:solidFill>
                  <a:schemeClr val="accent2"/>
                </a:solidFill>
              </a:defRPr>
            </a:lvl1pPr>
          </a:lstStyle>
          <a:p>
            <a:r>
              <a:rPr lang="sv-SE"/>
              <a:t>”Citat”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7" y="5322142"/>
            <a:ext cx="10296525" cy="807196"/>
          </a:xfrm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 på upphovsperson</a:t>
            </a:r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DDAC8D4-E3CA-EB4C-995C-3BDEE227B0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utfallande bakgrundsbild, högerklicka på bakgrunden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3104743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bild 4">
            <a:extLst>
              <a:ext uri="{FF2B5EF4-FFF2-40B4-BE49-F238E27FC236}">
                <a16:creationId xmlns:a16="http://schemas.microsoft.com/office/drawing/2014/main" id="{6BA16CBF-BD41-5645-862E-D184EA9FD1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60960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latshållare för bild 4">
            <a:extLst>
              <a:ext uri="{FF2B5EF4-FFF2-40B4-BE49-F238E27FC236}">
                <a16:creationId xmlns:a16="http://schemas.microsoft.com/office/drawing/2014/main" id="{EECF1713-688C-4248-83F6-22EFD06925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79372" y="0"/>
            <a:ext cx="6112628" cy="68580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4" y="1537999"/>
            <a:ext cx="4970277" cy="2387600"/>
          </a:xfrm>
          <a:noFill/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4" y="4017674"/>
            <a:ext cx="4970277" cy="1207468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7815D73E-369E-554D-803B-6D151BFEE5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50120" y="1538000"/>
            <a:ext cx="4954505" cy="2387599"/>
          </a:xfrm>
        </p:spPr>
        <p:txBody>
          <a:bodyPr anchor="b">
            <a:noAutofit/>
          </a:bodyPr>
          <a:lstStyle>
            <a:lvl1pPr marL="0" indent="0" algn="ctr">
              <a:buFontTx/>
              <a:buNone/>
              <a:defRPr sz="4000" b="0" i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4572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2pPr>
            <a:lvl3pPr marL="9144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3pPr>
            <a:lvl4pPr marL="13716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4pPr>
            <a:lvl5pPr marL="1828800" indent="0">
              <a:buFontTx/>
              <a:buNone/>
              <a:defRPr sz="4000" b="0" i="0">
                <a:latin typeface="Roboto Medium" panose="02000000000000000000" pitchFamily="2" charset="0"/>
                <a:ea typeface="Roboto Medium" panose="02000000000000000000" pitchFamily="2" charset="0"/>
              </a:defRPr>
            </a:lvl5pPr>
          </a:lstStyle>
          <a:p>
            <a:pPr lvl="0"/>
            <a:r>
              <a:rPr lang="sv-SE"/>
              <a:t>Klicka här för att lägga till rubrik</a:t>
            </a:r>
          </a:p>
        </p:txBody>
      </p:sp>
      <p:sp>
        <p:nvSpPr>
          <p:cNvPr id="17" name="Platshållare för text 16">
            <a:extLst>
              <a:ext uri="{FF2B5EF4-FFF2-40B4-BE49-F238E27FC236}">
                <a16:creationId xmlns:a16="http://schemas.microsoft.com/office/drawing/2014/main" id="{F70CA0D5-6D60-A74F-877F-C61BBE95CF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0120" y="4017674"/>
            <a:ext cx="4954505" cy="120746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13" name="Bildobjekt 7">
            <a:extLst>
              <a:ext uri="{FF2B5EF4-FFF2-40B4-BE49-F238E27FC236}">
                <a16:creationId xmlns:a16="http://schemas.microsoft.com/office/drawing/2014/main" id="{FEB07949-EEA5-5245-8BAA-5C38603E7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5364533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00103" y="1122363"/>
            <a:ext cx="7444159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0103" y="3602038"/>
            <a:ext cx="7444159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1320964-4081-1448-BF40-743591BA68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9190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1978" y="1122363"/>
            <a:ext cx="7432284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1978" y="3602038"/>
            <a:ext cx="7432284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487CBC6-072B-D045-A504-FD96A2E557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6516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816122-B980-3D47-BC2B-3DEA645922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35730" y="1122363"/>
            <a:ext cx="7408532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58D71C88-7E1F-2841-9597-31FDD40F91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5730" y="3602038"/>
            <a:ext cx="7408532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lägga till text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F4A4C896-EFA4-2448-A824-78C1CD5B81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434442"/>
            <a:ext cx="5854534" cy="442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9794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4F3C90D6-809C-4544-995A-25961A838C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C0F15878-E6A1-0741-AC27-B0ED6E01008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1136013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167A8DEA-2816-DA4A-B687-F08C8EC6B4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F4683308-FB74-284D-B1D7-FD1B09358FE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32317435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7DA8CF98-5DE0-754E-8460-2CF995C9E5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000" y="-753079"/>
            <a:ext cx="11593631" cy="59792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sv-SE"/>
              <a:t>INSTRUKTION: För en helt utfallande bild med logotyp framför i hörnet, högerklicka istället på bakgrunden i nederkant ”Formatera bakgrund” / Bild eller strukturfyllning / Bildkälla / Infoga</a:t>
            </a:r>
          </a:p>
        </p:txBody>
      </p:sp>
      <p:sp>
        <p:nvSpPr>
          <p:cNvPr id="6" name="Platshållare för bild 2">
            <a:extLst>
              <a:ext uri="{FF2B5EF4-FFF2-40B4-BE49-F238E27FC236}">
                <a16:creationId xmlns:a16="http://schemas.microsoft.com/office/drawing/2014/main" id="{A785E0B9-26B6-7C44-93E1-B991FE1F7F6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11293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</a:lstStyle>
          <a:p>
            <a:r>
              <a:rPr lang="sv-SE"/>
              <a:t>INSTRUKTION: Klicka här för att lägga till en bild. För en helt utfallande bild med logotyp framför i hörnet högerklicka istället på bakgrunden i nederkant ”Formatera bakgrund” / Bild eller strukturfyllning / Bildkälla / Infoga</a:t>
            </a:r>
          </a:p>
        </p:txBody>
      </p:sp>
    </p:spTree>
    <p:extLst>
      <p:ext uri="{BB962C8B-B14F-4D97-AF65-F5344CB8AC3E}">
        <p14:creationId xmlns:p14="http://schemas.microsoft.com/office/powerpoint/2010/main" val="2882522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8F51EAED-ABA6-3A4D-B1FB-18CA63D082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95856A-716B-7041-A0A5-136EFC22DC0C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3" name="Platshållare för sidfot 4">
            <a:extLst>
              <a:ext uri="{FF2B5EF4-FFF2-40B4-BE49-F238E27FC236}">
                <a16:creationId xmlns:a16="http://schemas.microsoft.com/office/drawing/2014/main" id="{D3D00B99-D2CC-1748-8BAA-1043A3A39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Platshållare för bildnummer 5">
            <a:extLst>
              <a:ext uri="{FF2B5EF4-FFF2-40B4-BE49-F238E27FC236}">
                <a16:creationId xmlns:a16="http://schemas.microsoft.com/office/drawing/2014/main" id="{3E9E4F43-4A14-3948-8AA7-578BD80DF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399565-7566-F44A-BAC9-A37EB3BF19CA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1056020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örsätt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7">
            <a:extLst>
              <a:ext uri="{FF2B5EF4-FFF2-40B4-BE49-F238E27FC236}">
                <a16:creationId xmlns:a16="http://schemas.microsoft.com/office/drawing/2014/main" id="{2BE6A008-FE08-EE44-ADEF-8E288DE0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732" y="2492546"/>
            <a:ext cx="5092536" cy="1981395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4343186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7055245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4" y="726018"/>
            <a:ext cx="4783015" cy="11987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accent2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1" y="1889225"/>
            <a:ext cx="4783015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6"/>
              </a:buClr>
              <a:buFont typeface="+mj-lt"/>
              <a:buAutoNum type="arabicPeriod"/>
              <a:tabLst>
                <a:tab pos="2689225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584200" indent="-228600">
              <a:buClr>
                <a:schemeClr val="accent6"/>
              </a:buClr>
              <a:buFont typeface="+mj-lt"/>
              <a:buAutoNum type="alphaLcParenR"/>
              <a:tabLst>
                <a:tab pos="2689225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6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6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6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4784460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4476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0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0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744454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6408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5785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8"/>
          </p:nvPr>
        </p:nvSpPr>
        <p:spPr>
          <a:xfrm>
            <a:off x="336738" y="1278000"/>
            <a:ext cx="1152000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11520000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573F57-107E-4735-B852-2D92D4970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A3C42D1-5175-4D3D-BB69-1C97402345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801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1003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520825"/>
            <a:ext cx="5582076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520825"/>
            <a:ext cx="5582078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D4C068-DE56-4254-97FC-61C36641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37941B-8B92-4ECF-A8EF-4D759B26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79304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8"/>
          </p:nvPr>
        </p:nvSpPr>
        <p:spPr>
          <a:xfrm>
            <a:off x="3360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2"/>
          </p:nvPr>
        </p:nvSpPr>
        <p:spPr>
          <a:xfrm>
            <a:off x="6273861" y="1278000"/>
            <a:ext cx="5582078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078" cy="4284662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4685FB6-E8C2-487E-B074-5463340BFB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26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orient="horz" pos="1003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/>
          </p:nvPr>
        </p:nvSpPr>
        <p:spPr>
          <a:xfrm>
            <a:off x="336062" y="1274515"/>
            <a:ext cx="11519877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3056"/>
            <a:ext cx="11519876" cy="1818000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0"/>
          </p:nvPr>
        </p:nvSpPr>
        <p:spPr>
          <a:xfrm>
            <a:off x="336062" y="3657600"/>
            <a:ext cx="1151917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1" y="4051900"/>
            <a:ext cx="11519876" cy="1818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0" y="6057900"/>
            <a:ext cx="11520000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782C52-7761-4E63-B058-458B235BEE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0572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1" y="273052"/>
            <a:ext cx="4011084" cy="1162049"/>
          </a:xfrm>
        </p:spPr>
        <p:txBody>
          <a:bodyPr anchor="b"/>
          <a:lstStyle>
            <a:lvl1pPr algn="l">
              <a:defRPr sz="2667" b="1"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748237"/>
          </a:xfrm>
        </p:spPr>
        <p:txBody>
          <a:bodyPr/>
          <a:lstStyle>
            <a:lvl1pPr>
              <a:defRPr sz="4267">
                <a:latin typeface="+mn-lt"/>
                <a:cs typeface="Arial"/>
              </a:defRPr>
            </a:lvl1pPr>
            <a:lvl2pPr>
              <a:defRPr sz="3733">
                <a:latin typeface="+mn-lt"/>
                <a:cs typeface="Arial"/>
              </a:defRPr>
            </a:lvl2pPr>
            <a:lvl3pPr>
              <a:defRPr sz="3200">
                <a:latin typeface="+mn-lt"/>
                <a:cs typeface="Arial"/>
              </a:defRPr>
            </a:lvl3pPr>
            <a:lvl4pPr>
              <a:defRPr sz="2667">
                <a:latin typeface="+mn-lt"/>
                <a:cs typeface="Arial"/>
              </a:defRPr>
            </a:lvl4pPr>
            <a:lvl5pPr>
              <a:defRPr sz="2667">
                <a:latin typeface="+mn-lt"/>
                <a:cs typeface="Arial"/>
              </a:defRPr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06907"/>
          </a:xfrm>
        </p:spPr>
        <p:txBody>
          <a:bodyPr/>
          <a:lstStyle>
            <a:lvl1pPr marL="0" indent="0">
              <a:buNone/>
              <a:defRPr sz="1867">
                <a:latin typeface="+mj-lt"/>
                <a:cs typeface="Arial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A72AC804-3EF1-9A40-8BC2-AE8CE8424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8DFDA8-FB10-054C-A00D-1A2292C9833B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21866658-69EB-CD41-BEE5-ED1785375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1608AA89-BFB9-F449-AA15-3DBFCF6A6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CBA055-29B3-114F-BC21-9D659ED11102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400039707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,Two Content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3" y="1274668"/>
            <a:ext cx="750946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9"/>
            <a:ext cx="7509461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8223399" y="127313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8223399" y="1665289"/>
            <a:ext cx="3632539" cy="4284661"/>
          </a:xfrm>
        </p:spPr>
        <p:txBody>
          <a:bodyPr lIns="0" tIns="0" r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DD61273-1B56-4DAA-9D25-BA60C8D4AF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8161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 Two Content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"/>
          <p:cNvSpPr>
            <a:spLocks noGrp="1"/>
          </p:cNvSpPr>
          <p:nvPr>
            <p:ph type="body" sz="quarter" idx="22"/>
          </p:nvPr>
        </p:nvSpPr>
        <p:spPr>
          <a:xfrm>
            <a:off x="336062" y="1274400"/>
            <a:ext cx="363253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3632539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23"/>
          </p:nvPr>
        </p:nvSpPr>
        <p:spPr>
          <a:xfrm>
            <a:off x="4354588" y="1274400"/>
            <a:ext cx="7509462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346476" y="1665288"/>
            <a:ext cx="7509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1" y="6057900"/>
            <a:ext cx="11527989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0DB90-7AC4-470B-B998-4C763FDC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CC51FBE-539A-4164-AE1D-455894B57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2072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122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0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336060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3"/>
          </p:nvPr>
        </p:nvSpPr>
        <p:spPr>
          <a:xfrm>
            <a:off x="336060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6273861" y="1269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idx="16"/>
          </p:nvPr>
        </p:nvSpPr>
        <p:spPr>
          <a:xfrm>
            <a:off x="6273861" y="1665288"/>
            <a:ext cx="5582769" cy="186530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73798" y="3682562"/>
            <a:ext cx="5582769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6273801" y="4090000"/>
            <a:ext cx="5582769" cy="1865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D02B64-8D5E-4540-B8CD-7DD289A2A30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6ED6F-0698-4856-A543-288D24E2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84502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s, Three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2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4237826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4237342" y="1665288"/>
            <a:ext cx="3717318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8139588" y="1268263"/>
            <a:ext cx="3716351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138621" y="1665288"/>
            <a:ext cx="3717318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0520C-3A59-445E-95E9-5EAD95559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739EFD1-BC6B-4631-96B9-E9B2EC4FEC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1199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s, Four Content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23"/>
          </p:nvPr>
        </p:nvSpPr>
        <p:spPr>
          <a:xfrm>
            <a:off x="336061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61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Subtitle"/>
          <p:cNvSpPr>
            <a:spLocks noGrp="1"/>
          </p:cNvSpPr>
          <p:nvPr>
            <p:ph type="body" sz="quarter" idx="24"/>
          </p:nvPr>
        </p:nvSpPr>
        <p:spPr>
          <a:xfrm>
            <a:off x="3290097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6"/>
          </p:nvPr>
        </p:nvSpPr>
        <p:spPr>
          <a:xfrm>
            <a:off x="3290097" y="1665288"/>
            <a:ext cx="2658462" cy="42846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Subtitle"/>
          <p:cNvSpPr>
            <a:spLocks noGrp="1"/>
          </p:cNvSpPr>
          <p:nvPr>
            <p:ph type="body" sz="quarter" idx="25"/>
          </p:nvPr>
        </p:nvSpPr>
        <p:spPr>
          <a:xfrm>
            <a:off x="6244133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244133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ubtitle"/>
          <p:cNvSpPr>
            <a:spLocks noGrp="1"/>
          </p:cNvSpPr>
          <p:nvPr>
            <p:ph type="body" sz="quarter" idx="26"/>
          </p:nvPr>
        </p:nvSpPr>
        <p:spPr>
          <a:xfrm>
            <a:off x="9198169" y="1268263"/>
            <a:ext cx="2657770" cy="324000"/>
          </a:xfrm>
          <a:gradFill>
            <a:gsLst>
              <a:gs pos="95000">
                <a:schemeClr val="accent3">
                  <a:lumMod val="20000"/>
                  <a:lumOff val="80000"/>
                </a:schemeClr>
              </a:gs>
              <a:gs pos="100000">
                <a:schemeClr val="tx2"/>
              </a:gs>
              <a:gs pos="95000">
                <a:schemeClr val="tx2"/>
              </a:gs>
            </a:gsLst>
            <a:lin ang="5400000" scaled="1"/>
          </a:gradFill>
        </p:spPr>
        <p:txBody>
          <a:bodyPr vert="horz" lIns="0" tIns="0" rIns="0" bIns="36000" rtlCol="0" anchor="b" anchorCtr="0">
            <a:noAutofit/>
          </a:bodyPr>
          <a:lstStyle>
            <a:lvl1pPr marL="0" indent="0">
              <a:buNone/>
              <a:defRPr lang="en-US" b="0" i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9198168" y="1665288"/>
            <a:ext cx="2658462" cy="4284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000" indent="-360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6DB1619-CD10-4AC7-AE5B-E73DEF3F00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39722-FC70-401C-BEE1-27E21ADA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15871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7DCF15A-C254-4EA0-8178-E7DEDA05ED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43251" y="0"/>
            <a:ext cx="58487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61F3ACB-DC6A-41EC-9100-42FABE9D8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61" y="6552000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rgbClr val="212222"/>
                </a:solidFill>
              </a:defRPr>
            </a:lvl1pPr>
          </a:lstStyle>
          <a:p>
            <a:fld id="{D987C672-8CBA-42C2-AC22-1966929E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4E6B5CD-8DB9-478C-8BAE-15E5922C61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9B9C-0C63-474D-81A3-D3854E1D9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5848750" cy="69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024994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C48E6C-21C1-4FD7-B19F-3E34802F1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CB099A-C599-444A-AE4A-7A9847E3F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76161A-E5D3-46B4-B452-7A46E49A426C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658CC07-047F-484A-A119-3F0F8B295D10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9" name="Ellips 11">
              <a:extLst>
                <a:ext uri="{FF2B5EF4-FFF2-40B4-BE49-F238E27FC236}">
                  <a16:creationId xmlns:a16="http://schemas.microsoft.com/office/drawing/2014/main" id="{0E4817DB-261F-42A3-8AF1-A55473AEA602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1635985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349655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6057900"/>
            <a:ext cx="11519877" cy="288050"/>
          </a:xfrm>
        </p:spPr>
        <p:txBody>
          <a:bodyPr anchor="b"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aseline="0"/>
            </a:lvl1pPr>
            <a:lvl2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2AF0A3-0552-4024-B86B-F99A821BA7D7}"/>
              </a:ext>
            </a:extLst>
          </p:cNvPr>
          <p:cNvSpPr/>
          <p:nvPr userDrawn="1"/>
        </p:nvSpPr>
        <p:spPr>
          <a:xfrm>
            <a:off x="2357175" y="3651924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B9882A-A064-42B5-8FC5-94F13DDA70C6}"/>
              </a:ext>
            </a:extLst>
          </p:cNvPr>
          <p:cNvSpPr txBox="1"/>
          <p:nvPr userDrawn="1"/>
        </p:nvSpPr>
        <p:spPr>
          <a:xfrm>
            <a:off x="386471" y="2782074"/>
            <a:ext cx="1930292" cy="905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 marL="180975" lvl="0" indent="-180975" eaLnBrk="1" hangingPunct="1"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Segoe UI" panose="020B0502040204020203" pitchFamily="34" charset="0"/>
              <a:buChar char="●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1pPr>
            <a:lvl2pPr marL="536575" lvl="1" indent="-180975" eaLnBrk="1" hangingPunct="1">
              <a:spcBef>
                <a:spcPts val="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2pPr>
            <a:lvl3pPr marL="900113" lvl="2" indent="-180975" eaLnBrk="1" hangingPunct="1">
              <a:spcBef>
                <a:spcPts val="400"/>
              </a:spcBef>
              <a:buClr>
                <a:schemeClr val="tx1"/>
              </a:buClr>
              <a:buFont typeface="Arial" charset="0"/>
              <a:buChar char="•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3pPr>
            <a:lvl4pPr marL="1255713" lvl="3" indent="-18097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–"/>
              <a:defRPr lang="en-US" sz="1000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4pPr>
            <a:lvl5pPr marL="1611313" lvl="4" indent="-174625" eaLnBrk="1" hangingPunct="1">
              <a:spcBef>
                <a:spcPct val="20000"/>
              </a:spcBef>
              <a:buClr>
                <a:schemeClr val="tx1"/>
              </a:buClr>
              <a:buFont typeface="Arial" charset="0"/>
              <a:buChar char="»"/>
              <a:defRPr lang="en-GB" sz="1000" i="1" baseline="0" dirty="0">
                <a:latin typeface="+mn-lt"/>
                <a:ea typeface="Verdana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180975" lvl="0" indent="-1809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358775" lvl="1" indent="-176213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  <a:p>
            <a:pPr marL="447675" lvl="2" indent="-92075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GB" sz="1000">
                <a:latin typeface="+mn-lt"/>
                <a:cs typeface="Segoe UI" panose="020B0502040204020203" pitchFamily="34" charset="0"/>
              </a:rPr>
              <a:t>[Text]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E9EC2-8365-478A-9104-6449B28722E4}"/>
              </a:ext>
            </a:extLst>
          </p:cNvPr>
          <p:cNvSpPr/>
          <p:nvPr userDrawn="1"/>
        </p:nvSpPr>
        <p:spPr>
          <a:xfrm>
            <a:off x="2357175" y="2805733"/>
            <a:ext cx="1892398" cy="63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980D2B-3A80-4FCE-AE9F-2E4DF856BED7}"/>
              </a:ext>
            </a:extLst>
          </p:cNvPr>
          <p:cNvSpPr txBox="1"/>
          <p:nvPr userDrawn="1"/>
        </p:nvSpPr>
        <p:spPr>
          <a:xfrm>
            <a:off x="12317893" y="2661361"/>
            <a:ext cx="1232036" cy="719034"/>
          </a:xfrm>
          <a:prstGeom prst="rect">
            <a:avLst/>
          </a:prstGeom>
          <a:solidFill>
            <a:srgbClr val="FFFFCC"/>
          </a:solidFill>
          <a:ln w="19050">
            <a:solidFill>
              <a:srgbClr val="FFFFC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700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To pick up gradients of colours, use the tool </a:t>
            </a: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eyedropper </a:t>
            </a:r>
          </a:p>
          <a:p>
            <a:pPr algn="l"/>
            <a:endParaRPr lang="en-GB" sz="700" b="0" i="1">
              <a:solidFill>
                <a:schemeClr val="tx2"/>
              </a:solidFill>
              <a:latin typeface="+mj-lt"/>
              <a:cs typeface="Segoe UI" panose="020B0502040204020203" pitchFamily="34" charset="0"/>
            </a:endParaRPr>
          </a:p>
          <a:p>
            <a:pPr algn="l"/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Do not use the </a:t>
            </a:r>
            <a:b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</a:br>
            <a:r>
              <a:rPr lang="en-GB" sz="700" b="0" i="1">
                <a:solidFill>
                  <a:schemeClr val="tx2"/>
                </a:solidFill>
                <a:latin typeface="+mj-lt"/>
                <a:cs typeface="Segoe UI" panose="020B0502040204020203" pitchFamily="34" charset="0"/>
              </a:rPr>
              <a:t>built-in gradien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703ED0-EF23-4CD6-B8C4-0AABC94B0273}"/>
              </a:ext>
            </a:extLst>
          </p:cNvPr>
          <p:cNvSpPr txBox="1"/>
          <p:nvPr userDrawn="1"/>
        </p:nvSpPr>
        <p:spPr>
          <a:xfrm>
            <a:off x="424366" y="1369719"/>
            <a:ext cx="1114273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Logos to u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BBDC7E-BB14-4CA9-8C0E-268EFE88E193}"/>
              </a:ext>
            </a:extLst>
          </p:cNvPr>
          <p:cNvSpPr txBox="1"/>
          <p:nvPr userDrawn="1"/>
        </p:nvSpPr>
        <p:spPr>
          <a:xfrm>
            <a:off x="424366" y="4111399"/>
            <a:ext cx="2846444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li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5A9236-4BF3-44D2-AE78-97921F6CF815}"/>
              </a:ext>
            </a:extLst>
          </p:cNvPr>
          <p:cNvCxnSpPr/>
          <p:nvPr userDrawn="1"/>
        </p:nvCxnSpPr>
        <p:spPr>
          <a:xfrm>
            <a:off x="418884" y="4438001"/>
            <a:ext cx="2769673" cy="0"/>
          </a:xfrm>
          <a:prstGeom prst="line">
            <a:avLst/>
          </a:prstGeom>
          <a:ln w="952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A6F3758-5897-4B9A-81A2-2A73143A2773}"/>
              </a:ext>
            </a:extLst>
          </p:cNvPr>
          <p:cNvSpPr txBox="1"/>
          <p:nvPr userDrawn="1"/>
        </p:nvSpPr>
        <p:spPr>
          <a:xfrm>
            <a:off x="424366" y="4499744"/>
            <a:ext cx="2599497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sha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B40700-02ED-4D94-B4C8-2C13D174F8EF}"/>
              </a:ext>
            </a:extLst>
          </p:cNvPr>
          <p:cNvSpPr/>
          <p:nvPr userDrawn="1"/>
        </p:nvSpPr>
        <p:spPr>
          <a:xfrm>
            <a:off x="424366" y="4789225"/>
            <a:ext cx="1114273" cy="905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91D490-532B-445E-9339-B38C3E83D9D5}"/>
              </a:ext>
            </a:extLst>
          </p:cNvPr>
          <p:cNvSpPr txBox="1"/>
          <p:nvPr userDrawn="1"/>
        </p:nvSpPr>
        <p:spPr>
          <a:xfrm>
            <a:off x="4527367" y="1369719"/>
            <a:ext cx="1704421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Primary colou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E40F1-4A9E-4DCF-A521-1DF3FD7BCC67}"/>
              </a:ext>
            </a:extLst>
          </p:cNvPr>
          <p:cNvSpPr/>
          <p:nvPr userDrawn="1"/>
        </p:nvSpPr>
        <p:spPr>
          <a:xfrm>
            <a:off x="6478326" y="2652769"/>
            <a:ext cx="804254" cy="65877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7EBB8B-4301-4A7A-8668-AA8FED4181ED}"/>
              </a:ext>
            </a:extLst>
          </p:cNvPr>
          <p:cNvSpPr/>
          <p:nvPr userDrawn="1"/>
        </p:nvSpPr>
        <p:spPr>
          <a:xfrm>
            <a:off x="7381029" y="2661362"/>
            <a:ext cx="804254" cy="658775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E311BF-6197-4BC4-8A6D-660F4AE25E1B}"/>
              </a:ext>
            </a:extLst>
          </p:cNvPr>
          <p:cNvSpPr/>
          <p:nvPr userDrawn="1"/>
        </p:nvSpPr>
        <p:spPr>
          <a:xfrm>
            <a:off x="8283733" y="2661362"/>
            <a:ext cx="804254" cy="658775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F67E52-F61D-4919-AFE8-F426453E61C9}"/>
              </a:ext>
            </a:extLst>
          </p:cNvPr>
          <p:cNvSpPr/>
          <p:nvPr userDrawn="1"/>
        </p:nvSpPr>
        <p:spPr>
          <a:xfrm>
            <a:off x="9186437" y="2652769"/>
            <a:ext cx="804254" cy="658775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E0F4A06-6E1D-454A-89CD-2D5FB48C1032}"/>
              </a:ext>
            </a:extLst>
          </p:cNvPr>
          <p:cNvSpPr/>
          <p:nvPr userDrawn="1"/>
        </p:nvSpPr>
        <p:spPr>
          <a:xfrm>
            <a:off x="10089141" y="2661362"/>
            <a:ext cx="804254" cy="658775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A37693-28BD-40CD-AE91-B4F9C286FE54}"/>
              </a:ext>
            </a:extLst>
          </p:cNvPr>
          <p:cNvSpPr/>
          <p:nvPr userDrawn="1"/>
        </p:nvSpPr>
        <p:spPr>
          <a:xfrm>
            <a:off x="6478326" y="3397222"/>
            <a:ext cx="804254" cy="658775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8E071D-EC30-4BB1-8C6F-970A70DCEE6A}"/>
              </a:ext>
            </a:extLst>
          </p:cNvPr>
          <p:cNvSpPr/>
          <p:nvPr userDrawn="1"/>
        </p:nvSpPr>
        <p:spPr>
          <a:xfrm>
            <a:off x="7381029" y="3405815"/>
            <a:ext cx="804254" cy="658775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E6BA8E-E068-4419-9793-FB50159AEDF7}"/>
              </a:ext>
            </a:extLst>
          </p:cNvPr>
          <p:cNvSpPr/>
          <p:nvPr userDrawn="1"/>
        </p:nvSpPr>
        <p:spPr>
          <a:xfrm>
            <a:off x="8283733" y="3405815"/>
            <a:ext cx="804254" cy="658775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93BD10-07FE-4860-875F-6FD98D464470}"/>
              </a:ext>
            </a:extLst>
          </p:cNvPr>
          <p:cNvSpPr/>
          <p:nvPr userDrawn="1"/>
        </p:nvSpPr>
        <p:spPr>
          <a:xfrm>
            <a:off x="9186437" y="3397222"/>
            <a:ext cx="804254" cy="658775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ACD379-57F6-4E58-8A65-1DED6BCD478C}"/>
              </a:ext>
            </a:extLst>
          </p:cNvPr>
          <p:cNvSpPr/>
          <p:nvPr userDrawn="1"/>
        </p:nvSpPr>
        <p:spPr>
          <a:xfrm>
            <a:off x="10089141" y="3405815"/>
            <a:ext cx="804254" cy="658775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D4346E-8684-4763-B80E-08F56DD01311}"/>
              </a:ext>
            </a:extLst>
          </p:cNvPr>
          <p:cNvSpPr/>
          <p:nvPr userDrawn="1"/>
        </p:nvSpPr>
        <p:spPr>
          <a:xfrm>
            <a:off x="6478326" y="4141673"/>
            <a:ext cx="804254" cy="658775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77E531-D6D0-44B4-B496-0A0333D5B3A3}"/>
              </a:ext>
            </a:extLst>
          </p:cNvPr>
          <p:cNvSpPr/>
          <p:nvPr userDrawn="1"/>
        </p:nvSpPr>
        <p:spPr>
          <a:xfrm>
            <a:off x="7381029" y="4150266"/>
            <a:ext cx="804254" cy="65877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888BAE-25B7-4A07-879C-9EAAFF78BF33}"/>
              </a:ext>
            </a:extLst>
          </p:cNvPr>
          <p:cNvSpPr/>
          <p:nvPr userDrawn="1"/>
        </p:nvSpPr>
        <p:spPr>
          <a:xfrm>
            <a:off x="8283733" y="4150266"/>
            <a:ext cx="804254" cy="658775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237FF88-C7BD-4BA9-BA9E-6658B9DCDBE9}"/>
              </a:ext>
            </a:extLst>
          </p:cNvPr>
          <p:cNvSpPr/>
          <p:nvPr userDrawn="1"/>
        </p:nvSpPr>
        <p:spPr>
          <a:xfrm>
            <a:off x="9186437" y="4141673"/>
            <a:ext cx="804254" cy="65877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9AE7C4-E6AA-480F-AF1E-B15D53E60DDC}"/>
              </a:ext>
            </a:extLst>
          </p:cNvPr>
          <p:cNvSpPr/>
          <p:nvPr userDrawn="1"/>
        </p:nvSpPr>
        <p:spPr>
          <a:xfrm>
            <a:off x="10089141" y="4150266"/>
            <a:ext cx="804254" cy="65877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4AB880-4F96-4167-A1E9-6C101BA7A9C6}"/>
              </a:ext>
            </a:extLst>
          </p:cNvPr>
          <p:cNvSpPr/>
          <p:nvPr userDrawn="1"/>
        </p:nvSpPr>
        <p:spPr>
          <a:xfrm>
            <a:off x="6478326" y="4886126"/>
            <a:ext cx="804254" cy="65877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245A73-DADD-4111-B64C-15809CC332BA}"/>
              </a:ext>
            </a:extLst>
          </p:cNvPr>
          <p:cNvSpPr/>
          <p:nvPr userDrawn="1"/>
        </p:nvSpPr>
        <p:spPr>
          <a:xfrm>
            <a:off x="7381029" y="4894718"/>
            <a:ext cx="804254" cy="658775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4A3771-451F-4781-B5B7-47A8E692E29E}"/>
              </a:ext>
            </a:extLst>
          </p:cNvPr>
          <p:cNvSpPr/>
          <p:nvPr userDrawn="1"/>
        </p:nvSpPr>
        <p:spPr>
          <a:xfrm>
            <a:off x="8283733" y="4894718"/>
            <a:ext cx="804254" cy="65877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FFCD44-9DC7-4C2F-B8BE-0C60B3A94A46}"/>
              </a:ext>
            </a:extLst>
          </p:cNvPr>
          <p:cNvSpPr/>
          <p:nvPr userDrawn="1"/>
        </p:nvSpPr>
        <p:spPr>
          <a:xfrm>
            <a:off x="9186437" y="4886126"/>
            <a:ext cx="804254" cy="658775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992D3E4-8590-4D07-A704-4A518B5F1E16}"/>
              </a:ext>
            </a:extLst>
          </p:cNvPr>
          <p:cNvSpPr/>
          <p:nvPr userDrawn="1"/>
        </p:nvSpPr>
        <p:spPr>
          <a:xfrm>
            <a:off x="10089141" y="4894718"/>
            <a:ext cx="804254" cy="658775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6A134B-B8E4-4DB4-9FE4-9E379EF2E453}"/>
              </a:ext>
            </a:extLst>
          </p:cNvPr>
          <p:cNvSpPr txBox="1"/>
          <p:nvPr userDrawn="1"/>
        </p:nvSpPr>
        <p:spPr>
          <a:xfrm>
            <a:off x="4527367" y="2437015"/>
            <a:ext cx="622047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Gradient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E6629C-86C0-4267-91E6-3AB0A625D5B5}"/>
              </a:ext>
            </a:extLst>
          </p:cNvPr>
          <p:cNvSpPr/>
          <p:nvPr userDrawn="1"/>
        </p:nvSpPr>
        <p:spPr>
          <a:xfrm>
            <a:off x="10974085" y="2661362"/>
            <a:ext cx="804254" cy="658775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8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2C3505F-E838-499C-9CC8-943A3019F0D0}"/>
              </a:ext>
            </a:extLst>
          </p:cNvPr>
          <p:cNvSpPr/>
          <p:nvPr userDrawn="1"/>
        </p:nvSpPr>
        <p:spPr>
          <a:xfrm>
            <a:off x="10974085" y="3405815"/>
            <a:ext cx="804254" cy="658775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6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B7D9CD-E5E6-45FB-AE98-EB81DE99C044}"/>
              </a:ext>
            </a:extLst>
          </p:cNvPr>
          <p:cNvSpPr/>
          <p:nvPr userDrawn="1"/>
        </p:nvSpPr>
        <p:spPr>
          <a:xfrm>
            <a:off x="10974085" y="4150266"/>
            <a:ext cx="804254" cy="6587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4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2BD2B4-E34A-4ED5-B83E-D5BEA9951B3F}"/>
              </a:ext>
            </a:extLst>
          </p:cNvPr>
          <p:cNvSpPr/>
          <p:nvPr userDrawn="1"/>
        </p:nvSpPr>
        <p:spPr>
          <a:xfrm>
            <a:off x="10974085" y="4894718"/>
            <a:ext cx="804254" cy="658775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2"/>
                </a:solidFill>
                <a:latin typeface="+mn-lt"/>
              </a:rPr>
              <a:t>20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D877B1F-EA61-4AE1-9126-2E423768C97D}"/>
              </a:ext>
            </a:extLst>
          </p:cNvPr>
          <p:cNvSpPr/>
          <p:nvPr userDrawn="1"/>
        </p:nvSpPr>
        <p:spPr>
          <a:xfrm flipH="1">
            <a:off x="4529905" y="2661362"/>
            <a:ext cx="804254" cy="658775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80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5847061-31FD-4DD0-9FF0-ACA7D6BDD205}"/>
              </a:ext>
            </a:extLst>
          </p:cNvPr>
          <p:cNvSpPr/>
          <p:nvPr userDrawn="1"/>
        </p:nvSpPr>
        <p:spPr>
          <a:xfrm flipH="1">
            <a:off x="4529905" y="3405815"/>
            <a:ext cx="804254" cy="658775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60%4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4460E0-E22F-487E-A589-2DB9753DCFD1}"/>
              </a:ext>
            </a:extLst>
          </p:cNvPr>
          <p:cNvSpPr/>
          <p:nvPr userDrawn="1"/>
        </p:nvSpPr>
        <p:spPr>
          <a:xfrm flipH="1">
            <a:off x="4529905" y="4150266"/>
            <a:ext cx="804254" cy="658775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40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A0223CE-BA3D-4406-86B6-80DFE394800C}"/>
              </a:ext>
            </a:extLst>
          </p:cNvPr>
          <p:cNvSpPr/>
          <p:nvPr userDrawn="1"/>
        </p:nvSpPr>
        <p:spPr>
          <a:xfrm flipH="1">
            <a:off x="4529905" y="4894718"/>
            <a:ext cx="804254" cy="658775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tx1"/>
                </a:solidFill>
                <a:latin typeface="+mn-lt"/>
              </a:rPr>
              <a:t>2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F59F04-9238-4CBF-9B8D-5DD026EC2683}"/>
              </a:ext>
            </a:extLst>
          </p:cNvPr>
          <p:cNvSpPr/>
          <p:nvPr userDrawn="1"/>
        </p:nvSpPr>
        <p:spPr>
          <a:xfrm flipH="1">
            <a:off x="5430071" y="2652769"/>
            <a:ext cx="804254" cy="65877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8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9E2FDD-75B9-4D3D-A2C6-7ED846C92CF5}"/>
              </a:ext>
            </a:extLst>
          </p:cNvPr>
          <p:cNvSpPr/>
          <p:nvPr userDrawn="1"/>
        </p:nvSpPr>
        <p:spPr>
          <a:xfrm flipH="1">
            <a:off x="5430071" y="3397222"/>
            <a:ext cx="804254" cy="658775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60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507339F-C970-470B-B88E-4AF24A5226C7}"/>
              </a:ext>
            </a:extLst>
          </p:cNvPr>
          <p:cNvSpPr/>
          <p:nvPr userDrawn="1"/>
        </p:nvSpPr>
        <p:spPr>
          <a:xfrm flipH="1">
            <a:off x="5430071" y="4141673"/>
            <a:ext cx="804254" cy="658775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40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4A6AF80-FA49-4A64-91F4-F0070B0E94F9}"/>
              </a:ext>
            </a:extLst>
          </p:cNvPr>
          <p:cNvSpPr/>
          <p:nvPr userDrawn="1"/>
        </p:nvSpPr>
        <p:spPr>
          <a:xfrm flipH="1">
            <a:off x="5430071" y="4886126"/>
            <a:ext cx="804254" cy="658775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7549D1-3EF8-4FAB-88AF-3840A6E6A27D}"/>
              </a:ext>
            </a:extLst>
          </p:cNvPr>
          <p:cNvSpPr txBox="1"/>
          <p:nvPr userDrawn="1"/>
        </p:nvSpPr>
        <p:spPr>
          <a:xfrm>
            <a:off x="6465639" y="1369719"/>
            <a:ext cx="5312700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000">
                <a:latin typeface="+mj-lt"/>
                <a:cs typeface="Segoe UI" panose="020B0502040204020203" pitchFamily="34" charset="0"/>
              </a:rPr>
              <a:t>Accent colours</a:t>
            </a: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7012A04-7738-4CFC-AA7C-A54DC067D464}"/>
              </a:ext>
            </a:extLst>
          </p:cNvPr>
          <p:cNvSpPr txBox="1"/>
          <p:nvPr userDrawn="1"/>
        </p:nvSpPr>
        <p:spPr>
          <a:xfrm>
            <a:off x="424366" y="2557728"/>
            <a:ext cx="1892398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Default textbox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D30DFE-4AB9-4DB4-B75D-22A5CC62EC72}"/>
              </a:ext>
            </a:extLst>
          </p:cNvPr>
          <p:cNvSpPr/>
          <p:nvPr userDrawn="1"/>
        </p:nvSpPr>
        <p:spPr>
          <a:xfrm>
            <a:off x="424366" y="1680270"/>
            <a:ext cx="1850470" cy="761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508B16-6D12-4948-95B7-FA999A09512F}"/>
              </a:ext>
            </a:extLst>
          </p:cNvPr>
          <p:cNvSpPr/>
          <p:nvPr userDrawn="1"/>
        </p:nvSpPr>
        <p:spPr>
          <a:xfrm>
            <a:off x="2399102" y="1680270"/>
            <a:ext cx="1850470" cy="761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40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5C384FA-0FA9-4E19-8F18-0BB9E43316BB}"/>
              </a:ext>
            </a:extLst>
          </p:cNvPr>
          <p:cNvSpPr txBox="1"/>
          <p:nvPr userDrawn="1"/>
        </p:nvSpPr>
        <p:spPr>
          <a:xfrm>
            <a:off x="2487527" y="2557728"/>
            <a:ext cx="193029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Hea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9EE914-5855-4A88-A788-E00973C30EBF}"/>
              </a:ext>
            </a:extLst>
          </p:cNvPr>
          <p:cNvSpPr txBox="1"/>
          <p:nvPr userDrawn="1"/>
        </p:nvSpPr>
        <p:spPr>
          <a:xfrm>
            <a:off x="2467801" y="2858753"/>
            <a:ext cx="1724978" cy="4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600" baseline="0">
                <a:latin typeface="+mj-lt"/>
                <a:cs typeface="Segoe UI" panose="020B0502040204020203" pitchFamily="34" charset="0"/>
              </a:rPr>
              <a:t>Trebuchet MS</a:t>
            </a:r>
          </a:p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“The aroma of baking bread fills the air”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E7D58A-6F87-41B9-9708-6840C2754934}"/>
              </a:ext>
            </a:extLst>
          </p:cNvPr>
          <p:cNvSpPr txBox="1"/>
          <p:nvPr userDrawn="1"/>
        </p:nvSpPr>
        <p:spPr>
          <a:xfrm>
            <a:off x="2467801" y="3704944"/>
            <a:ext cx="1724978" cy="503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800" b="0" baseline="0">
                <a:latin typeface="+mn-lt"/>
                <a:cs typeface="Segoe UI" panose="020B0502040204020203" pitchFamily="34" charset="0"/>
              </a:rPr>
              <a:t>SEGOE UI LIGHT</a:t>
            </a:r>
            <a:r>
              <a:rPr lang="en-GB" sz="800" baseline="0">
                <a:latin typeface="+mn-lt"/>
                <a:cs typeface="Segoe UI" panose="020B0502040204020203" pitchFamily="34" charset="0"/>
              </a:rPr>
              <a:t> </a:t>
            </a:r>
            <a:br>
              <a:rPr lang="en-GB" sz="800" baseline="0">
                <a:latin typeface="+mn-lt"/>
                <a:cs typeface="Segoe UI" panose="020B0502040204020203" pitchFamily="34" charset="0"/>
              </a:rPr>
            </a:br>
            <a:r>
              <a:rPr lang="en-US" sz="1000">
                <a:latin typeface="+mn-lt"/>
                <a:cs typeface="Segoe UI" panose="020B0502040204020203" pitchFamily="34" charset="0"/>
              </a:rPr>
              <a:t>“The aroma of baking bread fills the air”</a:t>
            </a:r>
            <a:endParaRPr lang="en-GB" sz="1000"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8226B92-BA60-4DB6-9056-4C029EB8EDFC}"/>
              </a:ext>
            </a:extLst>
          </p:cNvPr>
          <p:cNvSpPr txBox="1"/>
          <p:nvPr userDrawn="1"/>
        </p:nvSpPr>
        <p:spPr>
          <a:xfrm>
            <a:off x="2487528" y="3427577"/>
            <a:ext cx="783282" cy="22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00">
                <a:latin typeface="+mj-lt"/>
                <a:cs typeface="Segoe UI" panose="020B0502040204020203" pitchFamily="34" charset="0"/>
              </a:rPr>
              <a:t>Body tex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79B6C65-0215-4EC0-8C1A-3894C96C4FA4}"/>
              </a:ext>
            </a:extLst>
          </p:cNvPr>
          <p:cNvSpPr txBox="1"/>
          <p:nvPr userDrawn="1"/>
        </p:nvSpPr>
        <p:spPr>
          <a:xfrm>
            <a:off x="506450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ogo on dark background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C4B0D88-0C54-4F25-B20F-92C1C4E9A07C}"/>
              </a:ext>
            </a:extLst>
          </p:cNvPr>
          <p:cNvSpPr txBox="1"/>
          <p:nvPr userDrawn="1"/>
        </p:nvSpPr>
        <p:spPr>
          <a:xfrm>
            <a:off x="2481202" y="2245982"/>
            <a:ext cx="1715615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indent="0">
              <a:buFont typeface="Arial" panose="020B0604020202020204" pitchFamily="34" charset="0"/>
              <a:buNone/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pPr lvl="0" algn="r"/>
            <a:r>
              <a:rPr lang="en-GB" sz="800" i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Logo on light background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DAE5A436-8C5C-4648-924F-112B4AEBB2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3AF0FFB-8533-4F04-AEA0-F7A68DE7E538}"/>
              </a:ext>
            </a:extLst>
          </p:cNvPr>
          <p:cNvSpPr/>
          <p:nvPr userDrawn="1"/>
        </p:nvSpPr>
        <p:spPr>
          <a:xfrm flipH="1">
            <a:off x="7382416" y="1681519"/>
            <a:ext cx="804254" cy="658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9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03BA785-098F-4F89-9791-B098230F7E56}"/>
              </a:ext>
            </a:extLst>
          </p:cNvPr>
          <p:cNvSpPr/>
          <p:nvPr userDrawn="1"/>
        </p:nvSpPr>
        <p:spPr>
          <a:xfrm flipH="1">
            <a:off x="10076455" y="1681519"/>
            <a:ext cx="804254" cy="658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218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174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4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37EF6DD-35FE-4A76-A26B-F05D477FD130}"/>
              </a:ext>
            </a:extLst>
          </p:cNvPr>
          <p:cNvSpPr/>
          <p:nvPr userDrawn="1"/>
        </p:nvSpPr>
        <p:spPr>
          <a:xfrm flipH="1">
            <a:off x="8276122" y="1681519"/>
            <a:ext cx="804254" cy="6587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47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6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179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4907731-BFA9-4DC3-92A8-C79596A6171E}"/>
              </a:ext>
            </a:extLst>
          </p:cNvPr>
          <p:cNvSpPr/>
          <p:nvPr userDrawn="1"/>
        </p:nvSpPr>
        <p:spPr>
          <a:xfrm>
            <a:off x="10964071" y="1681519"/>
            <a:ext cx="804254" cy="6587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232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119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</a:rPr>
              <a:t>34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0D01143-672A-41DF-A39F-FD67AA429A2F}"/>
              </a:ext>
            </a:extLst>
          </p:cNvPr>
          <p:cNvSpPr/>
          <p:nvPr userDrawn="1"/>
        </p:nvSpPr>
        <p:spPr>
          <a:xfrm flipH="1">
            <a:off x="9176288" y="1681519"/>
            <a:ext cx="804254" cy="658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5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10</a:t>
            </a:r>
          </a:p>
          <a:p>
            <a:pPr algn="l">
              <a:spcBef>
                <a:spcPct val="20000"/>
              </a:spcBef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203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A0F0CC-1EE8-4735-9979-4867737FCDDC}"/>
              </a:ext>
            </a:extLst>
          </p:cNvPr>
          <p:cNvSpPr/>
          <p:nvPr userDrawn="1"/>
        </p:nvSpPr>
        <p:spPr>
          <a:xfrm flipH="1">
            <a:off x="4527367" y="1681519"/>
            <a:ext cx="804254" cy="658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4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33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229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60FDEF4-DB26-4DE5-894A-9C283114ACDE}"/>
              </a:ext>
            </a:extLst>
          </p:cNvPr>
          <p:cNvSpPr/>
          <p:nvPr userDrawn="1"/>
        </p:nvSpPr>
        <p:spPr>
          <a:xfrm>
            <a:off x="5430071" y="1681519"/>
            <a:ext cx="804254" cy="658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  <a:p>
            <a:pPr lvl="0" algn="l">
              <a:spcBef>
                <a:spcPct val="20000"/>
              </a:spcBef>
              <a:buFont typeface="Arial" charset="0"/>
              <a:buNone/>
            </a:pPr>
            <a:r>
              <a:rPr lang="en-GB" sz="700">
                <a:solidFill>
                  <a:schemeClr val="bg1"/>
                </a:solidFill>
                <a:latin typeface="+mn-lt"/>
              </a:rPr>
              <a:t>56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A52C569-529B-4DB4-9249-C74C1143C10F}"/>
              </a:ext>
            </a:extLst>
          </p:cNvPr>
          <p:cNvSpPr/>
          <p:nvPr userDrawn="1"/>
        </p:nvSpPr>
        <p:spPr>
          <a:xfrm>
            <a:off x="6479712" y="1681519"/>
            <a:ext cx="804254" cy="658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0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51</a:t>
            </a:r>
          </a:p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sz="700" kern="1200">
                <a:solidFill>
                  <a:schemeClr val="bg1"/>
                </a:solidFill>
                <a:latin typeface="+mn-lt"/>
              </a:rPr>
              <a:t>73</a:t>
            </a:r>
          </a:p>
        </p:txBody>
      </p:sp>
      <p:pic>
        <p:nvPicPr>
          <p:cNvPr id="80" name="Bildobjekt 7">
            <a:extLst>
              <a:ext uri="{FF2B5EF4-FFF2-40B4-BE49-F238E27FC236}">
                <a16:creationId xmlns:a16="http://schemas.microsoft.com/office/drawing/2014/main" id="{4BDC649E-99A5-4FA4-9452-4CFCBFC92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0" y="1848201"/>
            <a:ext cx="1131002" cy="35754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  <p:pic>
        <p:nvPicPr>
          <p:cNvPr id="82" name="Bildobjekt 7" descr="Bildobjekt 7">
            <a:extLst>
              <a:ext uri="{FF2B5EF4-FFF2-40B4-BE49-F238E27FC236}">
                <a16:creationId xmlns:a16="http://schemas.microsoft.com/office/drawing/2014/main" id="{E9B19F7A-96D3-4529-9C79-E1AD883F6E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15362" y="1849207"/>
            <a:ext cx="1132313" cy="355528"/>
          </a:xfrm>
          <a:prstGeom prst="rect">
            <a:avLst/>
          </a:prstGeom>
          <a:ln w="12700"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BE739-2C19-4C88-8BBE-EF97EB6A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06899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7E57254-E163-4BEA-A821-E77359343DE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23540" y="2770842"/>
            <a:ext cx="9946119" cy="131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Verdana" pitchFamily="34" charset="0"/>
                <a:cs typeface="Segoe UI Semibold" panose="020B0702040204020203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sv-SE" sz="2800">
                <a:solidFill>
                  <a:schemeClr val="bg1"/>
                </a:solidFill>
                <a:latin typeface="+mj-lt"/>
              </a:rPr>
              <a:t>OBS!</a:t>
            </a:r>
          </a:p>
          <a:p>
            <a:r>
              <a:rPr lang="sv-SE" sz="2800">
                <a:solidFill>
                  <a:schemeClr val="bg1"/>
                </a:solidFill>
                <a:latin typeface="+mj-lt"/>
              </a:rPr>
              <a:t>INGA MASTERSLIDES EFTER DENNA SIDA</a:t>
            </a:r>
          </a:p>
        </p:txBody>
      </p:sp>
    </p:spTree>
    <p:extLst>
      <p:ext uri="{BB962C8B-B14F-4D97-AF65-F5344CB8AC3E}">
        <p14:creationId xmlns:p14="http://schemas.microsoft.com/office/powerpoint/2010/main" val="1559054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7267"/>
          </a:xfrm>
        </p:spPr>
        <p:txBody>
          <a:bodyPr anchor="b"/>
          <a:lstStyle>
            <a:lvl1pPr algn="l">
              <a:defRPr sz="2667" b="1">
                <a:latin typeface="+mj-lt"/>
                <a:cs typeface="Arial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4267">
                <a:latin typeface="+mn-lt"/>
                <a:cs typeface="Arial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r>
              <a:rPr lang="sv-SE" noProof="0"/>
              <a:t>Dra bilden till platshållaren eller klicka på ikonen för att lägga till den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389717" y="5367867"/>
            <a:ext cx="7315200" cy="804333"/>
          </a:xfrm>
        </p:spPr>
        <p:txBody>
          <a:bodyPr/>
          <a:lstStyle>
            <a:lvl1pPr marL="0" indent="0">
              <a:buNone/>
              <a:defRPr sz="1867">
                <a:latin typeface="+mj-lt"/>
                <a:cs typeface="Arial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B6E657CC-CC3D-5F45-8C45-E239468486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BC6151-E35C-C447-9D38-9515EA0D890C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016C7038-347D-4C41-B519-EFB988152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391DB5E-4045-0346-9163-DD8EE667A7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17E1F6-A6EE-9148-BB39-768301DE1C38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35141150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9746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44"/>
              </a:spcBef>
              <a:spcAft>
                <a:spcPts val="244"/>
              </a:spcAft>
            </a:pPr>
            <a:endParaRPr lang="en-US" sz="3575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5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975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7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138">
                <a:solidFill>
                  <a:schemeClr val="tx1"/>
                </a:solidFill>
              </a:defRPr>
            </a:lvl1pPr>
            <a:lvl2pPr marL="94159" indent="0">
              <a:buNone/>
              <a:defRPr>
                <a:solidFill>
                  <a:schemeClr val="bg1"/>
                </a:solidFill>
              </a:defRPr>
            </a:lvl2pPr>
            <a:lvl3pPr marL="378905" indent="0">
              <a:buNone/>
              <a:defRPr>
                <a:solidFill>
                  <a:schemeClr val="bg1"/>
                </a:solidFill>
              </a:defRPr>
            </a:lvl3pPr>
            <a:lvl4pPr marL="661226" indent="0">
              <a:buNone/>
              <a:defRPr>
                <a:solidFill>
                  <a:schemeClr val="bg1"/>
                </a:solidFill>
              </a:defRPr>
            </a:lvl4pPr>
            <a:lvl5pPr marL="94354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3" y="4092561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25">
                <a:solidFill>
                  <a:schemeClr val="tx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3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575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3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653951" eaLnBrk="0" hangingPunct="0"/>
            <a:r>
              <a:rPr lang="en-US" sz="65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653951" eaLnBrk="0" hangingPunct="0"/>
            <a:r>
              <a:rPr lang="en-US" sz="65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650">
                <a:solidFill>
                  <a:schemeClr val="tx1"/>
                </a:solidFill>
                <a:latin typeface="+mn-lt"/>
              </a:rPr>
            </a:br>
            <a:r>
              <a:rPr lang="en-US" sz="65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4689312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13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31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463" b="0">
                <a:solidFill>
                  <a:schemeClr val="tx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24788"/>
            <a:ext cx="325502" cy="1124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623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3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9623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3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1"/>
            <a:ext cx="7277861" cy="1000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5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5" y="100156"/>
            <a:ext cx="4480560" cy="101438"/>
          </a:xfrm>
        </p:spPr>
        <p:txBody>
          <a:bodyPr anchor="ctr" anchorCtr="0">
            <a:spAutoFit/>
          </a:bodyPr>
          <a:lstStyle>
            <a:lvl1pPr algn="r">
              <a:defRPr sz="65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6693453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9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24788"/>
            <a:ext cx="325502" cy="1124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623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3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9623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3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1"/>
            <a:ext cx="7277861" cy="1000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5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5" y="100156"/>
            <a:ext cx="4480560" cy="101438"/>
          </a:xfrm>
        </p:spPr>
        <p:txBody>
          <a:bodyPr anchor="ctr" anchorCtr="0">
            <a:spAutoFit/>
          </a:bodyPr>
          <a:lstStyle>
            <a:lvl1pPr algn="r">
              <a:defRPr sz="65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011624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31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5" y="0"/>
            <a:ext cx="3410585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247504" y="6525415"/>
            <a:ext cx="924933" cy="11246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3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24788"/>
            <a:ext cx="325502" cy="1124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6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31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962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3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1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1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7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7" y="884727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63" b="0">
                <a:solidFill>
                  <a:schemeClr val="tx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71"/>
            <a:ext cx="7277861" cy="1000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244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6569" y="100156"/>
            <a:ext cx="2523744" cy="101438"/>
          </a:xfrm>
        </p:spPr>
        <p:txBody>
          <a:bodyPr anchor="ctr" anchorCtr="0">
            <a:spAutoFit/>
          </a:bodyPr>
          <a:lstStyle>
            <a:lvl1pPr algn="r">
              <a:defRPr sz="65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42815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40500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500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x-none" sz="816" baseline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80" y="51833"/>
            <a:ext cx="89415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73519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window, chair, table, wooden&#10;&#10;Description automatically generated">
            <a:extLst>
              <a:ext uri="{FF2B5EF4-FFF2-40B4-BE49-F238E27FC236}">
                <a16:creationId xmlns:a16="http://schemas.microsoft.com/office/drawing/2014/main" id="{2CD45267-E6B2-414D-AE8A-45B522608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A785C6E-F2A5-4E19-B88D-BEF428E3FE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06000" h="6858000">
                <a:moveTo>
                  <a:pt x="8040904" y="3803454"/>
                </a:moveTo>
                <a:cubicBezTo>
                  <a:pt x="7336680" y="3803454"/>
                  <a:pt x="6765793" y="4305568"/>
                  <a:pt x="6765793" y="4924958"/>
                </a:cubicBezTo>
                <a:cubicBezTo>
                  <a:pt x="6765793" y="5544348"/>
                  <a:pt x="7336680" y="6046462"/>
                  <a:pt x="8040904" y="6046462"/>
                </a:cubicBezTo>
                <a:cubicBezTo>
                  <a:pt x="8745128" y="6046462"/>
                  <a:pt x="9316015" y="5544348"/>
                  <a:pt x="9316015" y="4924958"/>
                </a:cubicBezTo>
                <a:cubicBezTo>
                  <a:pt x="9316015" y="4305568"/>
                  <a:pt x="8745128" y="3803454"/>
                  <a:pt x="8040904" y="3803454"/>
                </a:cubicBezTo>
                <a:close/>
                <a:moveTo>
                  <a:pt x="3541642" y="2157663"/>
                </a:moveTo>
                <a:cubicBezTo>
                  <a:pt x="4194359" y="2156192"/>
                  <a:pt x="4952809" y="2369880"/>
                  <a:pt x="4952809" y="3443720"/>
                </a:cubicBezTo>
                <a:cubicBezTo>
                  <a:pt x="4934216" y="4582575"/>
                  <a:pt x="4000931" y="4694939"/>
                  <a:pt x="3534982" y="4696412"/>
                </a:cubicBezTo>
                <a:cubicBezTo>
                  <a:pt x="3069033" y="4698129"/>
                  <a:pt x="2193471" y="4520750"/>
                  <a:pt x="2157116" y="3453043"/>
                </a:cubicBezTo>
                <a:cubicBezTo>
                  <a:pt x="2121039" y="2385091"/>
                  <a:pt x="2888925" y="2159381"/>
                  <a:pt x="3541642" y="2157663"/>
                </a:cubicBezTo>
                <a:close/>
                <a:moveTo>
                  <a:pt x="3560236" y="793099"/>
                </a:moveTo>
                <a:cubicBezTo>
                  <a:pt x="1593205" y="807573"/>
                  <a:pt x="637995" y="1973170"/>
                  <a:pt x="591095" y="3429000"/>
                </a:cubicBezTo>
                <a:cubicBezTo>
                  <a:pt x="544473" y="4884830"/>
                  <a:pt x="1718364" y="6052390"/>
                  <a:pt x="3560236" y="6065147"/>
                </a:cubicBezTo>
                <a:cubicBezTo>
                  <a:pt x="5402107" y="6077659"/>
                  <a:pt x="6538811" y="4828894"/>
                  <a:pt x="6529376" y="3429000"/>
                </a:cubicBezTo>
                <a:cubicBezTo>
                  <a:pt x="6520218" y="2029107"/>
                  <a:pt x="5527267" y="778378"/>
                  <a:pt x="3560236" y="793099"/>
                </a:cubicBez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49">
              <a:alpha val="6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085013" y="860075"/>
            <a:ext cx="3380852" cy="889602"/>
          </a:xfrm>
        </p:spPr>
        <p:txBody>
          <a:bodyPr anchor="t"/>
          <a:lstStyle>
            <a:lvl1pPr algn="l">
              <a:defRPr sz="2800" cap="none" spc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085013" y="1789590"/>
            <a:ext cx="3380852" cy="210799"/>
          </a:xfrm>
        </p:spPr>
        <p:txBody>
          <a:bodyPr/>
          <a:lstStyle>
            <a:lvl1pPr marL="0" indent="0" algn="l">
              <a:buNone/>
              <a:defRPr sz="9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4F4FF-7F51-4463-87A9-CE523B1F90BB}"/>
              </a:ext>
            </a:extLst>
          </p:cNvPr>
          <p:cNvSpPr txBox="1">
            <a:spLocks/>
          </p:cNvSpPr>
          <p:nvPr userDrawn="1"/>
        </p:nvSpPr>
        <p:spPr>
          <a:xfrm>
            <a:off x="398680" y="6375161"/>
            <a:ext cx="954207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STRICTLY PRIVATE </a:t>
            </a:r>
            <a:br>
              <a:rPr lang="en-GB" sz="600" b="0" i="0" spc="0" baseline="0">
                <a:solidFill>
                  <a:schemeClr val="bg1"/>
                </a:solidFill>
                <a:latin typeface="+mn-lt"/>
              </a:rPr>
            </a:br>
            <a:r>
              <a:rPr lang="en-GB" sz="600" b="0" i="0" spc="0" baseline="0">
                <a:solidFill>
                  <a:schemeClr val="bg1"/>
                </a:solidFill>
                <a:latin typeface="+mn-lt"/>
              </a:rPr>
              <a:t>AND CONFIDENTIAL</a:t>
            </a:r>
          </a:p>
        </p:txBody>
      </p:sp>
      <p:pic>
        <p:nvPicPr>
          <p:cNvPr id="28" name="Picture 27" descr="A picture containing drawing, cup&#10;&#10;Description automatically generated">
            <a:extLst>
              <a:ext uri="{FF2B5EF4-FFF2-40B4-BE49-F238E27FC236}">
                <a16:creationId xmlns:a16="http://schemas.microsoft.com/office/drawing/2014/main" id="{1F445C1F-7844-488F-A471-4F655E7365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1355" y="5964318"/>
            <a:ext cx="1068854" cy="387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C2067EA-362D-4CC2-863A-CA4B3CAC7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76708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4CBF847-B69D-46B2-9D30-037544A20DC6}"/>
              </a:ext>
            </a:extLst>
          </p:cNvPr>
          <p:cNvCxnSpPr>
            <a:cxnSpLocks/>
          </p:cNvCxnSpPr>
          <p:nvPr userDrawn="1"/>
        </p:nvCxnSpPr>
        <p:spPr>
          <a:xfrm flipH="1">
            <a:off x="8085016" y="2056130"/>
            <a:ext cx="3380850" cy="0"/>
          </a:xfrm>
          <a:prstGeom prst="line">
            <a:avLst/>
          </a:prstGeom>
          <a:ln w="50800" cap="flat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7">
            <a:extLst>
              <a:ext uri="{FF2B5EF4-FFF2-40B4-BE49-F238E27FC236}">
                <a16:creationId xmlns:a16="http://schemas.microsoft.com/office/drawing/2014/main" id="{CBC51962-053F-4311-AC59-3C8D4D85D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448" y="347243"/>
            <a:ext cx="971417" cy="307091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57216692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>
            <a:extLst>
              <a:ext uri="{FF2B5EF4-FFF2-40B4-BE49-F238E27FC236}">
                <a16:creationId xmlns:a16="http://schemas.microsoft.com/office/drawing/2014/main" id="{C67AB968-62DA-41CF-ADF0-0DD1DB6829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633" r="-371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3" name="Grupp 2">
            <a:extLst>
              <a:ext uri="{FF2B5EF4-FFF2-40B4-BE49-F238E27FC236}">
                <a16:creationId xmlns:a16="http://schemas.microsoft.com/office/drawing/2014/main" id="{99ADAEF7-6657-4B6C-A47A-95C282EC7C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89528" y="2662767"/>
            <a:ext cx="7066839" cy="3469216"/>
            <a:chOff x="1967279" y="839111"/>
            <a:chExt cx="8538192" cy="5160046"/>
          </a:xfrm>
          <a:solidFill>
            <a:srgbClr val="FFFFFF">
              <a:alpha val="30196"/>
            </a:srgbClr>
          </a:solidFill>
        </p:grpSpPr>
        <p:sp>
          <p:nvSpPr>
            <p:cNvPr id="14" name="Ring 4">
              <a:extLst>
                <a:ext uri="{FF2B5EF4-FFF2-40B4-BE49-F238E27FC236}">
                  <a16:creationId xmlns:a16="http://schemas.microsoft.com/office/drawing/2014/main" id="{C7568727-DB7B-4D97-8B8C-5A236A688C1C}"/>
                </a:ext>
              </a:extLst>
            </p:cNvPr>
            <p:cNvSpPr/>
            <p:nvPr/>
          </p:nvSpPr>
          <p:spPr>
            <a:xfrm>
              <a:off x="1967279" y="839111"/>
              <a:ext cx="5811808" cy="5160046"/>
            </a:xfrm>
            <a:custGeom>
              <a:avLst/>
              <a:gdLst>
                <a:gd name="connsiteX0" fmla="*/ 0 w 5704114"/>
                <a:gd name="connsiteY0" fmla="*/ 2579915 h 5159829"/>
                <a:gd name="connsiteX1" fmla="*/ 2852057 w 5704114"/>
                <a:gd name="connsiteY1" fmla="*/ 0 h 5159829"/>
                <a:gd name="connsiteX2" fmla="*/ 5704114 w 5704114"/>
                <a:gd name="connsiteY2" fmla="*/ 2579915 h 5159829"/>
                <a:gd name="connsiteX3" fmla="*/ 2852057 w 5704114"/>
                <a:gd name="connsiteY3" fmla="*/ 5159830 h 5159829"/>
                <a:gd name="connsiteX4" fmla="*/ 0 w 5704114"/>
                <a:gd name="connsiteY4" fmla="*/ 2579915 h 5159829"/>
                <a:gd name="connsiteX5" fmla="*/ 1289957 w 5704114"/>
                <a:gd name="connsiteY5" fmla="*/ 2579915 h 5159829"/>
                <a:gd name="connsiteX6" fmla="*/ 2852057 w 5704114"/>
                <a:gd name="connsiteY6" fmla="*/ 3869872 h 5159829"/>
                <a:gd name="connsiteX7" fmla="*/ 4414157 w 5704114"/>
                <a:gd name="connsiteY7" fmla="*/ 2579915 h 5159829"/>
                <a:gd name="connsiteX8" fmla="*/ 2852057 w 5704114"/>
                <a:gd name="connsiteY8" fmla="*/ 1289958 h 5159829"/>
                <a:gd name="connsiteX9" fmla="*/ 1289957 w 5704114"/>
                <a:gd name="connsiteY9" fmla="*/ 2579915 h 515982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289957 w 5704114"/>
                <a:gd name="connsiteY5" fmla="*/ 2580044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289957 w 5704114"/>
                <a:gd name="connsiteY9" fmla="*/ 2580044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414157 w 5704114"/>
                <a:gd name="connsiteY7" fmla="*/ 2580044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52057 w 5704114"/>
                <a:gd name="connsiteY6" fmla="*/ 3870001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59959"/>
                <a:gd name="connsiteX1" fmla="*/ 2852057 w 5704114"/>
                <a:gd name="connsiteY1" fmla="*/ 129 h 5159959"/>
                <a:gd name="connsiteX2" fmla="*/ 5704114 w 5704114"/>
                <a:gd name="connsiteY2" fmla="*/ 2580044 h 5159959"/>
                <a:gd name="connsiteX3" fmla="*/ 2852057 w 5704114"/>
                <a:gd name="connsiteY3" fmla="*/ 5159959 h 5159959"/>
                <a:gd name="connsiteX4" fmla="*/ 0 w 5704114"/>
                <a:gd name="connsiteY4" fmla="*/ 2580044 h 5159959"/>
                <a:gd name="connsiteX5" fmla="*/ 1486321 w 5704114"/>
                <a:gd name="connsiteY5" fmla="*/ 2594331 h 5159959"/>
                <a:gd name="connsiteX6" fmla="*/ 2827797 w 5704114"/>
                <a:gd name="connsiteY6" fmla="*/ 3820574 h 5159959"/>
                <a:gd name="connsiteX7" fmla="*/ 4189740 w 5704114"/>
                <a:gd name="connsiteY7" fmla="*/ 2594332 h 5159959"/>
                <a:gd name="connsiteX8" fmla="*/ 2852057 w 5704114"/>
                <a:gd name="connsiteY8" fmla="*/ 1290087 h 5159959"/>
                <a:gd name="connsiteX9" fmla="*/ 1486321 w 5704114"/>
                <a:gd name="connsiteY9" fmla="*/ 2594331 h 5159959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52057 w 5704114"/>
                <a:gd name="connsiteY8" fmla="*/ 129008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594331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594331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486321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486321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114"/>
                <a:gd name="connsiteY0" fmla="*/ 2580044 h 5160056"/>
                <a:gd name="connsiteX1" fmla="*/ 2852057 w 5704114"/>
                <a:gd name="connsiteY1" fmla="*/ 129 h 5160056"/>
                <a:gd name="connsiteX2" fmla="*/ 5704114 w 5704114"/>
                <a:gd name="connsiteY2" fmla="*/ 2580044 h 5160056"/>
                <a:gd name="connsiteX3" fmla="*/ 2852057 w 5704114"/>
                <a:gd name="connsiteY3" fmla="*/ 5159959 h 5160056"/>
                <a:gd name="connsiteX4" fmla="*/ 0 w 5704114"/>
                <a:gd name="connsiteY4" fmla="*/ 2580044 h 5160056"/>
                <a:gd name="connsiteX5" fmla="*/ 1504275 w 5704114"/>
                <a:gd name="connsiteY5" fmla="*/ 2603475 h 5160056"/>
                <a:gd name="connsiteX6" fmla="*/ 2827797 w 5704114"/>
                <a:gd name="connsiteY6" fmla="*/ 3820574 h 5160056"/>
                <a:gd name="connsiteX7" fmla="*/ 4189740 w 5704114"/>
                <a:gd name="connsiteY7" fmla="*/ 2594332 h 5160056"/>
                <a:gd name="connsiteX8" fmla="*/ 2834104 w 5704114"/>
                <a:gd name="connsiteY8" fmla="*/ 1335807 h 5160056"/>
                <a:gd name="connsiteX9" fmla="*/ 1504275 w 5704114"/>
                <a:gd name="connsiteY9" fmla="*/ 2603475 h 5160056"/>
                <a:gd name="connsiteX0" fmla="*/ 0 w 5704330"/>
                <a:gd name="connsiteY0" fmla="*/ 2580050 h 5160066"/>
                <a:gd name="connsiteX1" fmla="*/ 2852057 w 5704330"/>
                <a:gd name="connsiteY1" fmla="*/ 135 h 5160066"/>
                <a:gd name="connsiteX2" fmla="*/ 5704114 w 5704330"/>
                <a:gd name="connsiteY2" fmla="*/ 2580050 h 5160066"/>
                <a:gd name="connsiteX3" fmla="*/ 2852057 w 5704330"/>
                <a:gd name="connsiteY3" fmla="*/ 5159965 h 5160066"/>
                <a:gd name="connsiteX4" fmla="*/ 0 w 5704330"/>
                <a:gd name="connsiteY4" fmla="*/ 2580050 h 5160066"/>
                <a:gd name="connsiteX5" fmla="*/ 1504275 w 5704330"/>
                <a:gd name="connsiteY5" fmla="*/ 2603481 h 5160066"/>
                <a:gd name="connsiteX6" fmla="*/ 2827797 w 5704330"/>
                <a:gd name="connsiteY6" fmla="*/ 3820580 h 5160066"/>
                <a:gd name="connsiteX7" fmla="*/ 4189740 w 5704330"/>
                <a:gd name="connsiteY7" fmla="*/ 2594338 h 5160066"/>
                <a:gd name="connsiteX8" fmla="*/ 2834104 w 5704330"/>
                <a:gd name="connsiteY8" fmla="*/ 1335813 h 5160066"/>
                <a:gd name="connsiteX9" fmla="*/ 1504275 w 5704330"/>
                <a:gd name="connsiteY9" fmla="*/ 2603481 h 5160066"/>
                <a:gd name="connsiteX0" fmla="*/ 0 w 5704168"/>
                <a:gd name="connsiteY0" fmla="*/ 2580039 h 5160046"/>
                <a:gd name="connsiteX1" fmla="*/ 2852057 w 5704168"/>
                <a:gd name="connsiteY1" fmla="*/ 124 h 5160046"/>
                <a:gd name="connsiteX2" fmla="*/ 5704114 w 5704168"/>
                <a:gd name="connsiteY2" fmla="*/ 2580039 h 5160046"/>
                <a:gd name="connsiteX3" fmla="*/ 2852057 w 5704168"/>
                <a:gd name="connsiteY3" fmla="*/ 5159954 h 5160046"/>
                <a:gd name="connsiteX4" fmla="*/ 0 w 5704168"/>
                <a:gd name="connsiteY4" fmla="*/ 2580039 h 5160046"/>
                <a:gd name="connsiteX5" fmla="*/ 1504275 w 5704168"/>
                <a:gd name="connsiteY5" fmla="*/ 2603470 h 5160046"/>
                <a:gd name="connsiteX6" fmla="*/ 2827797 w 5704168"/>
                <a:gd name="connsiteY6" fmla="*/ 3820569 h 5160046"/>
                <a:gd name="connsiteX7" fmla="*/ 4189740 w 5704168"/>
                <a:gd name="connsiteY7" fmla="*/ 2594327 h 5160046"/>
                <a:gd name="connsiteX8" fmla="*/ 2834104 w 5704168"/>
                <a:gd name="connsiteY8" fmla="*/ 1335802 h 5160046"/>
                <a:gd name="connsiteX9" fmla="*/ 1504275 w 5704168"/>
                <a:gd name="connsiteY9" fmla="*/ 2603470 h 5160046"/>
                <a:gd name="connsiteX0" fmla="*/ 54 w 5704222"/>
                <a:gd name="connsiteY0" fmla="*/ 2580039 h 5160046"/>
                <a:gd name="connsiteX1" fmla="*/ 2852111 w 5704222"/>
                <a:gd name="connsiteY1" fmla="*/ 124 h 5160046"/>
                <a:gd name="connsiteX2" fmla="*/ 5704168 w 5704222"/>
                <a:gd name="connsiteY2" fmla="*/ 2580039 h 5160046"/>
                <a:gd name="connsiteX3" fmla="*/ 2852111 w 5704222"/>
                <a:gd name="connsiteY3" fmla="*/ 5159954 h 5160046"/>
                <a:gd name="connsiteX4" fmla="*/ 54 w 5704222"/>
                <a:gd name="connsiteY4" fmla="*/ 2580039 h 5160046"/>
                <a:gd name="connsiteX5" fmla="*/ 1504329 w 5704222"/>
                <a:gd name="connsiteY5" fmla="*/ 2603470 h 5160046"/>
                <a:gd name="connsiteX6" fmla="*/ 2827851 w 5704222"/>
                <a:gd name="connsiteY6" fmla="*/ 3820569 h 5160046"/>
                <a:gd name="connsiteX7" fmla="*/ 4189794 w 5704222"/>
                <a:gd name="connsiteY7" fmla="*/ 2594327 h 5160046"/>
                <a:gd name="connsiteX8" fmla="*/ 2834158 w 5704222"/>
                <a:gd name="connsiteY8" fmla="*/ 1335802 h 5160046"/>
                <a:gd name="connsiteX9" fmla="*/ 1504329 w 5704222"/>
                <a:gd name="connsiteY9" fmla="*/ 2603470 h 5160046"/>
                <a:gd name="connsiteX0" fmla="*/ 1292 w 5705460"/>
                <a:gd name="connsiteY0" fmla="*/ 2580039 h 5160046"/>
                <a:gd name="connsiteX1" fmla="*/ 2853349 w 5705460"/>
                <a:gd name="connsiteY1" fmla="*/ 124 h 5160046"/>
                <a:gd name="connsiteX2" fmla="*/ 5705406 w 5705460"/>
                <a:gd name="connsiteY2" fmla="*/ 2580039 h 5160046"/>
                <a:gd name="connsiteX3" fmla="*/ 2853349 w 5705460"/>
                <a:gd name="connsiteY3" fmla="*/ 5159954 h 5160046"/>
                <a:gd name="connsiteX4" fmla="*/ 1292 w 5705460"/>
                <a:gd name="connsiteY4" fmla="*/ 2580039 h 5160046"/>
                <a:gd name="connsiteX5" fmla="*/ 1505567 w 5705460"/>
                <a:gd name="connsiteY5" fmla="*/ 2603470 h 5160046"/>
                <a:gd name="connsiteX6" fmla="*/ 2829089 w 5705460"/>
                <a:gd name="connsiteY6" fmla="*/ 3820569 h 5160046"/>
                <a:gd name="connsiteX7" fmla="*/ 4191032 w 5705460"/>
                <a:gd name="connsiteY7" fmla="*/ 2594327 h 5160046"/>
                <a:gd name="connsiteX8" fmla="*/ 2835396 w 5705460"/>
                <a:gd name="connsiteY8" fmla="*/ 1335802 h 5160046"/>
                <a:gd name="connsiteX9" fmla="*/ 1505567 w 5705460"/>
                <a:gd name="connsiteY9" fmla="*/ 2603470 h 516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5460" h="5160046">
                  <a:moveTo>
                    <a:pt x="1292" y="2580039"/>
                  </a:moveTo>
                  <a:cubicBezTo>
                    <a:pt x="46175" y="1155191"/>
                    <a:pt x="963876" y="14411"/>
                    <a:pt x="2853349" y="124"/>
                  </a:cubicBezTo>
                  <a:cubicBezTo>
                    <a:pt x="4742822" y="-14163"/>
                    <a:pt x="5696429" y="1210055"/>
                    <a:pt x="5705406" y="2580039"/>
                  </a:cubicBezTo>
                  <a:cubicBezTo>
                    <a:pt x="5714383" y="3950023"/>
                    <a:pt x="4622587" y="5172311"/>
                    <a:pt x="2853349" y="5159954"/>
                  </a:cubicBezTo>
                  <a:cubicBezTo>
                    <a:pt x="1084111" y="5147597"/>
                    <a:pt x="-43591" y="4004887"/>
                    <a:pt x="1292" y="2580039"/>
                  </a:cubicBezTo>
                  <a:close/>
                  <a:moveTo>
                    <a:pt x="1505567" y="2603470"/>
                  </a:moveTo>
                  <a:cubicBezTo>
                    <a:pt x="1540423" y="3648534"/>
                    <a:pt x="2381512" y="3822093"/>
                    <a:pt x="2829089" y="3820569"/>
                  </a:cubicBezTo>
                  <a:cubicBezTo>
                    <a:pt x="3276666" y="3819045"/>
                    <a:pt x="4173079" y="3709087"/>
                    <a:pt x="4191032" y="2594327"/>
                  </a:cubicBezTo>
                  <a:cubicBezTo>
                    <a:pt x="4191032" y="1543575"/>
                    <a:pt x="3462507" y="1334278"/>
                    <a:pt x="2835396" y="1335802"/>
                  </a:cubicBezTo>
                  <a:cubicBezTo>
                    <a:pt x="2208285" y="1337326"/>
                    <a:pt x="1470711" y="1558406"/>
                    <a:pt x="1505567" y="260347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>
                <a:solidFill>
                  <a:schemeClr val="tx1"/>
                </a:solidFill>
              </a:endParaRPr>
            </a:p>
          </p:txBody>
        </p:sp>
        <p:sp>
          <p:nvSpPr>
            <p:cNvPr id="15" name="Ellips 5">
              <a:extLst>
                <a:ext uri="{FF2B5EF4-FFF2-40B4-BE49-F238E27FC236}">
                  <a16:creationId xmlns:a16="http://schemas.microsoft.com/office/drawing/2014/main" id="{3EAF2538-6CFE-4558-B814-625F7243A57F}"/>
                </a:ext>
              </a:extLst>
            </p:cNvPr>
            <p:cNvSpPr/>
            <p:nvPr/>
          </p:nvSpPr>
          <p:spPr>
            <a:xfrm>
              <a:off x="8010145" y="3785616"/>
              <a:ext cx="2495326" cy="219525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6F7A20-76FA-49B9-B2AC-4CACD74C1BEC}"/>
              </a:ext>
            </a:extLst>
          </p:cNvPr>
          <p:cNvSpPr/>
          <p:nvPr userDrawn="1"/>
        </p:nvSpPr>
        <p:spPr>
          <a:xfrm>
            <a:off x="1035485" y="726018"/>
            <a:ext cx="9146338" cy="119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ACB8B8-6207-4DF6-AFBD-95C146F069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5484" y="726016"/>
            <a:ext cx="4783015" cy="1163208"/>
          </a:xfrm>
          <a:noFill/>
        </p:spPr>
        <p:txBody>
          <a:bodyPr vert="horz" lIns="108000" tIns="108000" rIns="108000" bIns="108000" rtlCol="0" anchor="b">
            <a:noAutofit/>
          </a:bodyPr>
          <a:lstStyle>
            <a:lvl1pPr>
              <a:defRPr lang="en-GB" sz="2400" i="0" cap="none" spc="0" baseline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Type table of content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3CE42-1893-4E4C-9363-0876C1D0FE3F}"/>
              </a:ext>
            </a:extLst>
          </p:cNvPr>
          <p:cNvSpPr/>
          <p:nvPr userDrawn="1"/>
        </p:nvSpPr>
        <p:spPr>
          <a:xfrm>
            <a:off x="1033930" y="1889225"/>
            <a:ext cx="9145108" cy="42427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840" name="Text Placeholder 1839">
            <a:extLst>
              <a:ext uri="{FF2B5EF4-FFF2-40B4-BE49-F238E27FC236}">
                <a16:creationId xmlns:a16="http://schemas.microsoft.com/office/drawing/2014/main" id="{75F8DEE9-925E-4AD1-841C-50980393498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035484" y="1924739"/>
            <a:ext cx="4783015" cy="4207245"/>
          </a:xfrm>
          <a:noFill/>
        </p:spPr>
        <p:txBody>
          <a:bodyPr lIns="144000" tIns="108000" rIns="144000" bIns="72000"/>
          <a:lstStyle>
            <a:lvl1pPr marL="228600" indent="-2286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1pPr>
            <a:lvl2pPr marL="449263" indent="-225425">
              <a:buClr>
                <a:schemeClr val="accent3"/>
              </a:buClr>
              <a:buFont typeface="+mj-lt"/>
              <a:buAutoNum type="alphaLcParenR"/>
              <a:tabLst>
                <a:tab pos="3408363" algn="r"/>
                <a:tab pos="4483100" algn="r"/>
              </a:tabLst>
              <a:defRPr sz="1200">
                <a:solidFill>
                  <a:schemeClr val="bg1"/>
                </a:solidFill>
              </a:defRPr>
            </a:lvl2pPr>
            <a:lvl3pPr marL="9477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3pPr>
            <a:lvl4pPr marL="130333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4pPr>
            <a:lvl5pPr marL="1665288" indent="-228600">
              <a:buClr>
                <a:schemeClr val="accent3"/>
              </a:buClr>
              <a:buFont typeface="+mj-lt"/>
              <a:buAutoNum type="arabicPeriod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9FAC53E-3E3F-445A-B2D4-C19F81EEFFA9}"/>
              </a:ext>
            </a:extLst>
          </p:cNvPr>
          <p:cNvSpPr/>
          <p:nvPr userDrawn="1"/>
        </p:nvSpPr>
        <p:spPr>
          <a:xfrm>
            <a:off x="1033985" y="1879021"/>
            <a:ext cx="9145108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sv-SE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584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72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5374C2-436A-4916-9F01-E60752C5194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algn="ctr">
              <a:lnSpc>
                <a:spcPct val="110000"/>
              </a:lnSpc>
              <a:spcBef>
                <a:spcPts val="1000"/>
              </a:spcBef>
              <a:buClr>
                <a:srgbClr val="FFDB45"/>
              </a:buClr>
              <a:buFont typeface="Century Gothic" panose="020B0502020202020204" pitchFamily="34" charset="0"/>
              <a:buChar char="●"/>
            </a:pPr>
            <a:endParaRPr lang="sv-SE" sz="800">
              <a:solidFill>
                <a:srgbClr val="21222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08B9F82-657D-4520-954F-272DBD42277B}"/>
              </a:ext>
            </a:extLst>
          </p:cNvPr>
          <p:cNvSpPr/>
          <p:nvPr userDrawn="1"/>
        </p:nvSpPr>
        <p:spPr>
          <a:xfrm>
            <a:off x="0" y="-8467"/>
            <a:ext cx="12201262" cy="6866466"/>
          </a:xfrm>
          <a:custGeom>
            <a:avLst/>
            <a:gdLst>
              <a:gd name="connsiteX0" fmla="*/ 8040904 w 9906000"/>
              <a:gd name="connsiteY0" fmla="*/ 3803454 h 6858000"/>
              <a:gd name="connsiteX1" fmla="*/ 6765793 w 9906000"/>
              <a:gd name="connsiteY1" fmla="*/ 4924958 h 6858000"/>
              <a:gd name="connsiteX2" fmla="*/ 8040904 w 9906000"/>
              <a:gd name="connsiteY2" fmla="*/ 6046462 h 6858000"/>
              <a:gd name="connsiteX3" fmla="*/ 9316015 w 9906000"/>
              <a:gd name="connsiteY3" fmla="*/ 4924958 h 6858000"/>
              <a:gd name="connsiteX4" fmla="*/ 8040904 w 9906000"/>
              <a:gd name="connsiteY4" fmla="*/ 3803454 h 6858000"/>
              <a:gd name="connsiteX5" fmla="*/ 3541642 w 9906000"/>
              <a:gd name="connsiteY5" fmla="*/ 2157663 h 6858000"/>
              <a:gd name="connsiteX6" fmla="*/ 4952809 w 9906000"/>
              <a:gd name="connsiteY6" fmla="*/ 3443720 h 6858000"/>
              <a:gd name="connsiteX7" fmla="*/ 3534982 w 9906000"/>
              <a:gd name="connsiteY7" fmla="*/ 4696412 h 6858000"/>
              <a:gd name="connsiteX8" fmla="*/ 2157116 w 9906000"/>
              <a:gd name="connsiteY8" fmla="*/ 3453043 h 6858000"/>
              <a:gd name="connsiteX9" fmla="*/ 3541642 w 9906000"/>
              <a:gd name="connsiteY9" fmla="*/ 2157663 h 6858000"/>
              <a:gd name="connsiteX10" fmla="*/ 3560236 w 9906000"/>
              <a:gd name="connsiteY10" fmla="*/ 793099 h 6858000"/>
              <a:gd name="connsiteX11" fmla="*/ 591095 w 9906000"/>
              <a:gd name="connsiteY11" fmla="*/ 3429000 h 6858000"/>
              <a:gd name="connsiteX12" fmla="*/ 3560236 w 9906000"/>
              <a:gd name="connsiteY12" fmla="*/ 6065147 h 6858000"/>
              <a:gd name="connsiteX13" fmla="*/ 6529376 w 9906000"/>
              <a:gd name="connsiteY13" fmla="*/ 3429000 h 6858000"/>
              <a:gd name="connsiteX14" fmla="*/ 3560236 w 9906000"/>
              <a:gd name="connsiteY14" fmla="*/ 793099 h 6858000"/>
              <a:gd name="connsiteX15" fmla="*/ 0 w 9906000"/>
              <a:gd name="connsiteY15" fmla="*/ 0 h 6858000"/>
              <a:gd name="connsiteX16" fmla="*/ 9906000 w 9906000"/>
              <a:gd name="connsiteY16" fmla="*/ 0 h 6858000"/>
              <a:gd name="connsiteX17" fmla="*/ 9906000 w 9906000"/>
              <a:gd name="connsiteY17" fmla="*/ 6858000 h 6858000"/>
              <a:gd name="connsiteX18" fmla="*/ 0 w 9906000"/>
              <a:gd name="connsiteY18" fmla="*/ 6858000 h 6858000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9906000 w 16304479"/>
              <a:gd name="connsiteY17" fmla="*/ 11293072 h 11293072"/>
              <a:gd name="connsiteX18" fmla="*/ 0 w 16304479"/>
              <a:gd name="connsiteY18" fmla="*/ 11293072 h 11293072"/>
              <a:gd name="connsiteX19" fmla="*/ 0 w 16304479"/>
              <a:gd name="connsiteY19" fmla="*/ 4435072 h 11293072"/>
              <a:gd name="connsiteX0" fmla="*/ 8040904 w 16642860"/>
              <a:gd name="connsiteY0" fmla="*/ 8238526 h 11293072"/>
              <a:gd name="connsiteX1" fmla="*/ 6765793 w 16642860"/>
              <a:gd name="connsiteY1" fmla="*/ 9360030 h 11293072"/>
              <a:gd name="connsiteX2" fmla="*/ 8040904 w 16642860"/>
              <a:gd name="connsiteY2" fmla="*/ 10481534 h 11293072"/>
              <a:gd name="connsiteX3" fmla="*/ 9316015 w 16642860"/>
              <a:gd name="connsiteY3" fmla="*/ 9360030 h 11293072"/>
              <a:gd name="connsiteX4" fmla="*/ 8040904 w 16642860"/>
              <a:gd name="connsiteY4" fmla="*/ 8238526 h 11293072"/>
              <a:gd name="connsiteX5" fmla="*/ 3541642 w 16642860"/>
              <a:gd name="connsiteY5" fmla="*/ 6592735 h 11293072"/>
              <a:gd name="connsiteX6" fmla="*/ 4952809 w 16642860"/>
              <a:gd name="connsiteY6" fmla="*/ 7878792 h 11293072"/>
              <a:gd name="connsiteX7" fmla="*/ 3534982 w 16642860"/>
              <a:gd name="connsiteY7" fmla="*/ 9131484 h 11293072"/>
              <a:gd name="connsiteX8" fmla="*/ 2157116 w 16642860"/>
              <a:gd name="connsiteY8" fmla="*/ 7888115 h 11293072"/>
              <a:gd name="connsiteX9" fmla="*/ 3541642 w 16642860"/>
              <a:gd name="connsiteY9" fmla="*/ 6592735 h 11293072"/>
              <a:gd name="connsiteX10" fmla="*/ 3560236 w 16642860"/>
              <a:gd name="connsiteY10" fmla="*/ 5228171 h 11293072"/>
              <a:gd name="connsiteX11" fmla="*/ 591095 w 16642860"/>
              <a:gd name="connsiteY11" fmla="*/ 7864072 h 11293072"/>
              <a:gd name="connsiteX12" fmla="*/ 3560236 w 16642860"/>
              <a:gd name="connsiteY12" fmla="*/ 10500219 h 11293072"/>
              <a:gd name="connsiteX13" fmla="*/ 6529376 w 16642860"/>
              <a:gd name="connsiteY13" fmla="*/ 7864072 h 11293072"/>
              <a:gd name="connsiteX14" fmla="*/ 3560236 w 16642860"/>
              <a:gd name="connsiteY14" fmla="*/ 5228171 h 11293072"/>
              <a:gd name="connsiteX15" fmla="*/ 0 w 16642860"/>
              <a:gd name="connsiteY15" fmla="*/ 4435072 h 11293072"/>
              <a:gd name="connsiteX16" fmla="*/ 16304479 w 16642860"/>
              <a:gd name="connsiteY16" fmla="*/ 0 h 11293072"/>
              <a:gd name="connsiteX17" fmla="*/ 16278177 w 16642860"/>
              <a:gd name="connsiteY17" fmla="*/ 11286112 h 11293072"/>
              <a:gd name="connsiteX18" fmla="*/ 9906000 w 16642860"/>
              <a:gd name="connsiteY18" fmla="*/ 11293072 h 11293072"/>
              <a:gd name="connsiteX19" fmla="*/ 0 w 16642860"/>
              <a:gd name="connsiteY19" fmla="*/ 11293072 h 11293072"/>
              <a:gd name="connsiteX20" fmla="*/ 0 w 16642860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443507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4435072 h 11293072"/>
              <a:gd name="connsiteX0" fmla="*/ 8040904 w 16304479"/>
              <a:gd name="connsiteY0" fmla="*/ 8238526 h 11293072"/>
              <a:gd name="connsiteX1" fmla="*/ 6765793 w 16304479"/>
              <a:gd name="connsiteY1" fmla="*/ 9360030 h 11293072"/>
              <a:gd name="connsiteX2" fmla="*/ 8040904 w 16304479"/>
              <a:gd name="connsiteY2" fmla="*/ 10481534 h 11293072"/>
              <a:gd name="connsiteX3" fmla="*/ 9316015 w 16304479"/>
              <a:gd name="connsiteY3" fmla="*/ 9360030 h 11293072"/>
              <a:gd name="connsiteX4" fmla="*/ 8040904 w 16304479"/>
              <a:gd name="connsiteY4" fmla="*/ 8238526 h 11293072"/>
              <a:gd name="connsiteX5" fmla="*/ 3541642 w 16304479"/>
              <a:gd name="connsiteY5" fmla="*/ 6592735 h 11293072"/>
              <a:gd name="connsiteX6" fmla="*/ 4952809 w 16304479"/>
              <a:gd name="connsiteY6" fmla="*/ 7878792 h 11293072"/>
              <a:gd name="connsiteX7" fmla="*/ 3534982 w 16304479"/>
              <a:gd name="connsiteY7" fmla="*/ 9131484 h 11293072"/>
              <a:gd name="connsiteX8" fmla="*/ 2157116 w 16304479"/>
              <a:gd name="connsiteY8" fmla="*/ 7888115 h 11293072"/>
              <a:gd name="connsiteX9" fmla="*/ 3541642 w 16304479"/>
              <a:gd name="connsiteY9" fmla="*/ 6592735 h 11293072"/>
              <a:gd name="connsiteX10" fmla="*/ 3560236 w 16304479"/>
              <a:gd name="connsiteY10" fmla="*/ 5228171 h 11293072"/>
              <a:gd name="connsiteX11" fmla="*/ 591095 w 16304479"/>
              <a:gd name="connsiteY11" fmla="*/ 7864072 h 11293072"/>
              <a:gd name="connsiteX12" fmla="*/ 3560236 w 16304479"/>
              <a:gd name="connsiteY12" fmla="*/ 10500219 h 11293072"/>
              <a:gd name="connsiteX13" fmla="*/ 6529376 w 16304479"/>
              <a:gd name="connsiteY13" fmla="*/ 7864072 h 11293072"/>
              <a:gd name="connsiteX14" fmla="*/ 3560236 w 16304479"/>
              <a:gd name="connsiteY14" fmla="*/ 5228171 h 11293072"/>
              <a:gd name="connsiteX15" fmla="*/ 0 w 16304479"/>
              <a:gd name="connsiteY15" fmla="*/ 6962 h 11293072"/>
              <a:gd name="connsiteX16" fmla="*/ 16304479 w 16304479"/>
              <a:gd name="connsiteY16" fmla="*/ 0 h 11293072"/>
              <a:gd name="connsiteX17" fmla="*/ 16278177 w 16304479"/>
              <a:gd name="connsiteY17" fmla="*/ 11286112 h 11293072"/>
              <a:gd name="connsiteX18" fmla="*/ 9906000 w 16304479"/>
              <a:gd name="connsiteY18" fmla="*/ 11293072 h 11293072"/>
              <a:gd name="connsiteX19" fmla="*/ 0 w 16304479"/>
              <a:gd name="connsiteY19" fmla="*/ 11293072 h 11293072"/>
              <a:gd name="connsiteX20" fmla="*/ 0 w 16304479"/>
              <a:gd name="connsiteY20" fmla="*/ 6962 h 11293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304479" h="11293072">
                <a:moveTo>
                  <a:pt x="8040904" y="8238526"/>
                </a:moveTo>
                <a:cubicBezTo>
                  <a:pt x="7336680" y="8238526"/>
                  <a:pt x="6765793" y="8740640"/>
                  <a:pt x="6765793" y="9360030"/>
                </a:cubicBezTo>
                <a:cubicBezTo>
                  <a:pt x="6765793" y="9979420"/>
                  <a:pt x="7336680" y="10481534"/>
                  <a:pt x="8040904" y="10481534"/>
                </a:cubicBezTo>
                <a:cubicBezTo>
                  <a:pt x="8745128" y="10481534"/>
                  <a:pt x="9316015" y="9979420"/>
                  <a:pt x="9316015" y="9360030"/>
                </a:cubicBezTo>
                <a:cubicBezTo>
                  <a:pt x="9316015" y="8740640"/>
                  <a:pt x="8745128" y="8238526"/>
                  <a:pt x="8040904" y="8238526"/>
                </a:cubicBezTo>
                <a:close/>
                <a:moveTo>
                  <a:pt x="3541642" y="6592735"/>
                </a:moveTo>
                <a:cubicBezTo>
                  <a:pt x="4194359" y="6591264"/>
                  <a:pt x="4952809" y="6804952"/>
                  <a:pt x="4952809" y="7878792"/>
                </a:cubicBezTo>
                <a:cubicBezTo>
                  <a:pt x="4934216" y="9017647"/>
                  <a:pt x="4000931" y="9130011"/>
                  <a:pt x="3534982" y="9131484"/>
                </a:cubicBezTo>
                <a:cubicBezTo>
                  <a:pt x="3069033" y="9133201"/>
                  <a:pt x="2193471" y="8955822"/>
                  <a:pt x="2157116" y="7888115"/>
                </a:cubicBezTo>
                <a:cubicBezTo>
                  <a:pt x="2121039" y="6820163"/>
                  <a:pt x="2888925" y="6594453"/>
                  <a:pt x="3541642" y="6592735"/>
                </a:cubicBezTo>
                <a:close/>
                <a:moveTo>
                  <a:pt x="3560236" y="5228171"/>
                </a:moveTo>
                <a:cubicBezTo>
                  <a:pt x="1593205" y="5242645"/>
                  <a:pt x="637995" y="6408242"/>
                  <a:pt x="591095" y="7864072"/>
                </a:cubicBezTo>
                <a:cubicBezTo>
                  <a:pt x="544473" y="9319902"/>
                  <a:pt x="1718364" y="10487462"/>
                  <a:pt x="3560236" y="10500219"/>
                </a:cubicBezTo>
                <a:cubicBezTo>
                  <a:pt x="5402107" y="10512731"/>
                  <a:pt x="6538811" y="9263966"/>
                  <a:pt x="6529376" y="7864072"/>
                </a:cubicBezTo>
                <a:cubicBezTo>
                  <a:pt x="6520218" y="6464179"/>
                  <a:pt x="5527267" y="5213450"/>
                  <a:pt x="3560236" y="5228171"/>
                </a:cubicBezTo>
                <a:close/>
                <a:moveTo>
                  <a:pt x="0" y="6962"/>
                </a:moveTo>
                <a:lnTo>
                  <a:pt x="16304479" y="0"/>
                </a:lnTo>
                <a:cubicBezTo>
                  <a:pt x="16295712" y="3762037"/>
                  <a:pt x="16286944" y="7524075"/>
                  <a:pt x="16278177" y="11286112"/>
                </a:cubicBezTo>
                <a:lnTo>
                  <a:pt x="9906000" y="11293072"/>
                </a:lnTo>
                <a:lnTo>
                  <a:pt x="0" y="11293072"/>
                </a:lnTo>
                <a:lnTo>
                  <a:pt x="0" y="6962"/>
                </a:lnTo>
                <a:close/>
              </a:path>
            </a:pathLst>
          </a:custGeom>
          <a:blipFill>
            <a:blip r:embed="rId2">
              <a:alphaModFix amt="70000"/>
            </a:blip>
            <a:srcRect/>
            <a:stretch>
              <a:fillRect t="-58282" b="-58282"/>
            </a:stretch>
          </a:blip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AB6BCF-3947-4AF2-AAFB-22791C79EC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9256" y="3849177"/>
            <a:ext cx="6197495" cy="1121066"/>
          </a:xfrm>
          <a:noFill/>
        </p:spPr>
        <p:txBody>
          <a:bodyPr lIns="0" r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200" b="1" i="0" cap="none" baseline="0">
                <a:solidFill>
                  <a:schemeClr val="accent6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ection divider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2E078E-BF06-4B02-B34F-B3A465C90D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3475" y="3055434"/>
            <a:ext cx="340478" cy="738664"/>
          </a:xfrm>
          <a:noFill/>
        </p:spPr>
        <p:txBody>
          <a:bodyPr vert="horz" wrap="none" lIns="0" tIns="0" rIns="0" bIns="0" rtlCol="0" anchor="b" anchorCtr="0">
            <a:spAutoFit/>
          </a:bodyPr>
          <a:lstStyle>
            <a:lvl1pPr marL="0" indent="0" algn="l">
              <a:buNone/>
              <a:defRPr lang="en-US" sz="4800" b="1" i="0" cap="none" spc="-20" baseline="0" dirty="0" smtClean="0">
                <a:solidFill>
                  <a:schemeClr val="accent6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180000" lvl="0" indent="-180000" algn="r">
              <a:lnSpc>
                <a:spcPct val="100000"/>
              </a:lnSpc>
              <a:spcBef>
                <a:spcPct val="0"/>
              </a:spcBef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284645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606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29002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7D7AC5-0D1A-4A47-9E9C-D18AF05EEE7E}"/>
              </a:ext>
            </a:extLst>
          </p:cNvPr>
          <p:cNvGrpSpPr/>
          <p:nvPr userDrawn="1"/>
        </p:nvGrpSpPr>
        <p:grpSpPr>
          <a:xfrm>
            <a:off x="0" y="1529178"/>
            <a:ext cx="6268158" cy="4420772"/>
            <a:chOff x="0" y="1529177"/>
            <a:chExt cx="5410582" cy="469654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042FF39-08F2-4E7A-B64D-6138C972D95C}"/>
                </a:ext>
              </a:extLst>
            </p:cNvPr>
            <p:cNvSpPr/>
            <p:nvPr userDrawn="1"/>
          </p:nvSpPr>
          <p:spPr>
            <a:xfrm>
              <a:off x="0" y="1529177"/>
              <a:ext cx="2933932" cy="4696549"/>
            </a:xfrm>
            <a:custGeom>
              <a:avLst/>
              <a:gdLst>
                <a:gd name="connsiteX0" fmla="*/ 288964 w 2933932"/>
                <a:gd name="connsiteY0" fmla="*/ 115 h 4696549"/>
                <a:gd name="connsiteX1" fmla="*/ 2933881 w 2933932"/>
                <a:gd name="connsiteY1" fmla="*/ 2348181 h 4696549"/>
                <a:gd name="connsiteX2" fmla="*/ 288964 w 2933932"/>
                <a:gd name="connsiteY2" fmla="*/ 4696466 h 4696549"/>
                <a:gd name="connsiteX3" fmla="*/ 0 w 2933932"/>
                <a:gd name="connsiteY3" fmla="*/ 4683009 h 4696549"/>
                <a:gd name="connsiteX4" fmla="*/ 0 w 2933932"/>
                <a:gd name="connsiteY4" fmla="*/ 3453789 h 4696549"/>
                <a:gd name="connsiteX5" fmla="*/ 95886 w 2933932"/>
                <a:gd name="connsiteY5" fmla="*/ 3469052 h 4696549"/>
                <a:gd name="connsiteX6" fmla="*/ 266468 w 2933932"/>
                <a:gd name="connsiteY6" fmla="*/ 3477194 h 4696549"/>
                <a:gd name="connsiteX7" fmla="*/ 1529472 w 2933932"/>
                <a:gd name="connsiteY7" fmla="*/ 2361294 h 4696549"/>
                <a:gd name="connsiteX8" fmla="*/ 272401 w 2933932"/>
                <a:gd name="connsiteY8" fmla="*/ 1215672 h 4696549"/>
                <a:gd name="connsiteX9" fmla="*/ 51150 w 2933932"/>
                <a:gd name="connsiteY9" fmla="*/ 1226675 h 4696549"/>
                <a:gd name="connsiteX10" fmla="*/ 0 w 2933932"/>
                <a:gd name="connsiteY10" fmla="*/ 1233358 h 4696549"/>
                <a:gd name="connsiteX11" fmla="*/ 0 w 2933932"/>
                <a:gd name="connsiteY11" fmla="*/ 13061 h 4696549"/>
                <a:gd name="connsiteX12" fmla="*/ 288964 w 2933932"/>
                <a:gd name="connsiteY12" fmla="*/ 115 h 469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932" h="4696549">
                  <a:moveTo>
                    <a:pt x="288964" y="115"/>
                  </a:moveTo>
                  <a:cubicBezTo>
                    <a:pt x="2041200" y="-12998"/>
                    <a:pt x="2925723" y="1101153"/>
                    <a:pt x="2933881" y="2348181"/>
                  </a:cubicBezTo>
                  <a:cubicBezTo>
                    <a:pt x="2942286" y="3595209"/>
                    <a:pt x="1929707" y="4707612"/>
                    <a:pt x="288964" y="4696466"/>
                  </a:cubicBezTo>
                  <a:lnTo>
                    <a:pt x="0" y="4683009"/>
                  </a:lnTo>
                  <a:lnTo>
                    <a:pt x="0" y="3453789"/>
                  </a:lnTo>
                  <a:lnTo>
                    <a:pt x="95886" y="3469052"/>
                  </a:lnTo>
                  <a:cubicBezTo>
                    <a:pt x="156999" y="3475084"/>
                    <a:pt x="214584" y="3477385"/>
                    <a:pt x="266468" y="3477194"/>
                  </a:cubicBezTo>
                  <a:cubicBezTo>
                    <a:pt x="681536" y="3475882"/>
                    <a:pt x="1512909" y="3375788"/>
                    <a:pt x="1529472" y="2361294"/>
                  </a:cubicBezTo>
                  <a:cubicBezTo>
                    <a:pt x="1529472" y="1404715"/>
                    <a:pt x="853842" y="1214361"/>
                    <a:pt x="272401" y="1215672"/>
                  </a:cubicBezTo>
                  <a:cubicBezTo>
                    <a:pt x="199721" y="1215863"/>
                    <a:pt x="125437" y="1219172"/>
                    <a:pt x="51150" y="1226675"/>
                  </a:cubicBezTo>
                  <a:lnTo>
                    <a:pt x="0" y="1233358"/>
                  </a:lnTo>
                  <a:lnTo>
                    <a:pt x="0" y="13061"/>
                  </a:lnTo>
                  <a:lnTo>
                    <a:pt x="288964" y="115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lvl="0" algn="ctr"/>
              <a:endParaRPr lang="en-GB" sz="1800">
                <a:solidFill>
                  <a:schemeClr val="accent6">
                    <a:lumOff val="44000"/>
                  </a:schemeClr>
                </a:solidFill>
              </a:endParaRPr>
            </a:p>
          </p:txBody>
        </p:sp>
        <p:sp>
          <p:nvSpPr>
            <p:cNvPr id="8" name="Ellips 11">
              <a:extLst>
                <a:ext uri="{FF2B5EF4-FFF2-40B4-BE49-F238E27FC236}">
                  <a16:creationId xmlns:a16="http://schemas.microsoft.com/office/drawing/2014/main" id="{CEF81D6C-7DC0-45D6-A1D8-CD53F3BC4E58}"/>
                </a:ext>
              </a:extLst>
            </p:cNvPr>
            <p:cNvSpPr/>
            <p:nvPr/>
          </p:nvSpPr>
          <p:spPr>
            <a:xfrm>
              <a:off x="3138838" y="4210921"/>
              <a:ext cx="2271744" cy="1998075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chemeClr val="accent6">
                      <a:lumOff val="44000"/>
                    </a:schemeClr>
                  </a:solidFill>
                </a:defRPr>
              </a:pPr>
              <a:endParaRPr sz="1800"/>
            </a:p>
          </p:txBody>
        </p:sp>
      </p:grpSp>
      <p:sp>
        <p:nvSpPr>
          <p:cNvPr id="3" name="Content Placeholder 1"/>
          <p:cNvSpPr>
            <a:spLocks noGrp="1"/>
          </p:cNvSpPr>
          <p:nvPr userDrawn="1">
            <p:ph idx="1"/>
          </p:nvPr>
        </p:nvSpPr>
        <p:spPr>
          <a:xfrm>
            <a:off x="336000" y="1520825"/>
            <a:ext cx="11520000" cy="4429125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6057900"/>
            <a:ext cx="11519938" cy="288000"/>
          </a:xfrm>
        </p:spPr>
        <p:txBody>
          <a:bodyPr anchor="b"/>
          <a:lstStyle>
            <a:lvl1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aseline="0"/>
            </a:lvl1pPr>
            <a:lvl2pPr marL="360363" indent="-3603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600"/>
            </a:lvl2pPr>
            <a:lvl3pPr marL="3556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3pPr>
            <a:lvl4pPr marL="5413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4pPr>
            <a:lvl5pPr marL="719138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/>
            </a:lvl5pPr>
          </a:lstStyle>
          <a:p>
            <a:pPr lvl="0"/>
            <a:r>
              <a:rPr lang="sv-SE" noProof="0"/>
              <a:t>Source: 	[•]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021DB-92F3-4ED5-8242-83DBDEF65A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61" y="162000"/>
            <a:ext cx="3329355" cy="136496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700" b="0" cap="all" spc="-20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sv-SE" sz="1800" dirty="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D8E1DF-3DA3-4516-971F-E9B82C6F1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1" y="302230"/>
            <a:ext cx="11519876" cy="6984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944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73.xml"/><Relationship Id="rId21" Type="http://schemas.openxmlformats.org/officeDocument/2006/relationships/tags" Target="../tags/tag44.xml"/><Relationship Id="rId7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72.xml"/><Relationship Id="rId16" Type="http://schemas.openxmlformats.org/officeDocument/2006/relationships/slideLayout" Target="../slideLayouts/slideLayout186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5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80.xml"/><Relationship Id="rId19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84.xml"/><Relationship Id="rId22" Type="http://schemas.openxmlformats.org/officeDocument/2006/relationships/tags" Target="../tags/tag4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92.xml"/><Relationship Id="rId21" Type="http://schemas.openxmlformats.org/officeDocument/2006/relationships/tags" Target="../tags/tag46.xml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tags" Target="../tags/tag4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11.xml"/><Relationship Id="rId21" Type="http://schemas.openxmlformats.org/officeDocument/2006/relationships/tags" Target="../tags/tag48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theme" Target="../theme/theme12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Relationship Id="rId22" Type="http://schemas.openxmlformats.org/officeDocument/2006/relationships/tags" Target="../tags/tag4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5.xml"/><Relationship Id="rId13" Type="http://schemas.openxmlformats.org/officeDocument/2006/relationships/slideLayout" Target="../slideLayouts/slideLayout240.xml"/><Relationship Id="rId18" Type="http://schemas.openxmlformats.org/officeDocument/2006/relationships/slideLayout" Target="../slideLayouts/slideLayout245.xml"/><Relationship Id="rId26" Type="http://schemas.openxmlformats.org/officeDocument/2006/relationships/oleObject" Target="../embeddings/oleObject5.bin"/><Relationship Id="rId3" Type="http://schemas.openxmlformats.org/officeDocument/2006/relationships/slideLayout" Target="../slideLayouts/slideLayout230.xml"/><Relationship Id="rId21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34.xml"/><Relationship Id="rId12" Type="http://schemas.openxmlformats.org/officeDocument/2006/relationships/slideLayout" Target="../slideLayouts/slideLayout239.xml"/><Relationship Id="rId17" Type="http://schemas.openxmlformats.org/officeDocument/2006/relationships/slideLayout" Target="../slideLayouts/slideLayout244.xml"/><Relationship Id="rId25" Type="http://schemas.openxmlformats.org/officeDocument/2006/relationships/tags" Target="../tags/tag51.xml"/><Relationship Id="rId2" Type="http://schemas.openxmlformats.org/officeDocument/2006/relationships/slideLayout" Target="../slideLayouts/slideLayout229.xml"/><Relationship Id="rId16" Type="http://schemas.openxmlformats.org/officeDocument/2006/relationships/slideLayout" Target="../slideLayouts/slideLayout243.xml"/><Relationship Id="rId20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38.xml"/><Relationship Id="rId24" Type="http://schemas.openxmlformats.org/officeDocument/2006/relationships/tags" Target="../tags/tag50.xml"/><Relationship Id="rId5" Type="http://schemas.openxmlformats.org/officeDocument/2006/relationships/slideLayout" Target="../slideLayouts/slideLayout232.xml"/><Relationship Id="rId15" Type="http://schemas.openxmlformats.org/officeDocument/2006/relationships/slideLayout" Target="../slideLayouts/slideLayout242.xml"/><Relationship Id="rId23" Type="http://schemas.openxmlformats.org/officeDocument/2006/relationships/theme" Target="../theme/theme13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237.xml"/><Relationship Id="rId19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Relationship Id="rId14" Type="http://schemas.openxmlformats.org/officeDocument/2006/relationships/slideLayout" Target="../slideLayouts/slideLayout241.xml"/><Relationship Id="rId22" Type="http://schemas.openxmlformats.org/officeDocument/2006/relationships/slideLayout" Target="../slideLayouts/slideLayout249.xml"/><Relationship Id="rId27" Type="http://schemas.openxmlformats.org/officeDocument/2006/relationships/image" Target="../media/image4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7.xml"/><Relationship Id="rId13" Type="http://schemas.openxmlformats.org/officeDocument/2006/relationships/slideLayout" Target="../slideLayouts/slideLayout262.xml"/><Relationship Id="rId18" Type="http://schemas.openxmlformats.org/officeDocument/2006/relationships/slideLayout" Target="../slideLayouts/slideLayout267.xml"/><Relationship Id="rId26" Type="http://schemas.openxmlformats.org/officeDocument/2006/relationships/tags" Target="../tags/tag52.xml"/><Relationship Id="rId3" Type="http://schemas.openxmlformats.org/officeDocument/2006/relationships/slideLayout" Target="../slideLayouts/slideLayout252.xml"/><Relationship Id="rId21" Type="http://schemas.openxmlformats.org/officeDocument/2006/relationships/slideLayout" Target="../slideLayouts/slideLayout270.xml"/><Relationship Id="rId7" Type="http://schemas.openxmlformats.org/officeDocument/2006/relationships/slideLayout" Target="../slideLayouts/slideLayout256.xml"/><Relationship Id="rId12" Type="http://schemas.openxmlformats.org/officeDocument/2006/relationships/slideLayout" Target="../slideLayouts/slideLayout261.xml"/><Relationship Id="rId17" Type="http://schemas.openxmlformats.org/officeDocument/2006/relationships/slideLayout" Target="../slideLayouts/slideLayout266.xml"/><Relationship Id="rId25" Type="http://schemas.openxmlformats.org/officeDocument/2006/relationships/theme" Target="../theme/theme14.xml"/><Relationship Id="rId2" Type="http://schemas.openxmlformats.org/officeDocument/2006/relationships/slideLayout" Target="../slideLayouts/slideLayout251.xml"/><Relationship Id="rId16" Type="http://schemas.openxmlformats.org/officeDocument/2006/relationships/slideLayout" Target="../slideLayouts/slideLayout265.xml"/><Relationship Id="rId20" Type="http://schemas.openxmlformats.org/officeDocument/2006/relationships/slideLayout" Target="../slideLayouts/slideLayout269.xml"/><Relationship Id="rId29" Type="http://schemas.openxmlformats.org/officeDocument/2006/relationships/image" Target="../media/image4.emf"/><Relationship Id="rId1" Type="http://schemas.openxmlformats.org/officeDocument/2006/relationships/slideLayout" Target="../slideLayouts/slideLayout250.xml"/><Relationship Id="rId6" Type="http://schemas.openxmlformats.org/officeDocument/2006/relationships/slideLayout" Target="../slideLayouts/slideLayout255.xml"/><Relationship Id="rId11" Type="http://schemas.openxmlformats.org/officeDocument/2006/relationships/slideLayout" Target="../slideLayouts/slideLayout260.xml"/><Relationship Id="rId24" Type="http://schemas.openxmlformats.org/officeDocument/2006/relationships/slideLayout" Target="../slideLayouts/slideLayout273.xml"/><Relationship Id="rId5" Type="http://schemas.openxmlformats.org/officeDocument/2006/relationships/slideLayout" Target="../slideLayouts/slideLayout254.xml"/><Relationship Id="rId15" Type="http://schemas.openxmlformats.org/officeDocument/2006/relationships/slideLayout" Target="../slideLayouts/slideLayout264.xml"/><Relationship Id="rId23" Type="http://schemas.openxmlformats.org/officeDocument/2006/relationships/slideLayout" Target="../slideLayouts/slideLayout272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59.xml"/><Relationship Id="rId19" Type="http://schemas.openxmlformats.org/officeDocument/2006/relationships/slideLayout" Target="../slideLayouts/slideLayout268.xml"/><Relationship Id="rId4" Type="http://schemas.openxmlformats.org/officeDocument/2006/relationships/slideLayout" Target="../slideLayouts/slideLayout253.xml"/><Relationship Id="rId9" Type="http://schemas.openxmlformats.org/officeDocument/2006/relationships/slideLayout" Target="../slideLayouts/slideLayout258.xml"/><Relationship Id="rId14" Type="http://schemas.openxmlformats.org/officeDocument/2006/relationships/slideLayout" Target="../slideLayouts/slideLayout263.xml"/><Relationship Id="rId22" Type="http://schemas.openxmlformats.org/officeDocument/2006/relationships/slideLayout" Target="../slideLayouts/slideLayout271.xml"/><Relationship Id="rId27" Type="http://schemas.openxmlformats.org/officeDocument/2006/relationships/tags" Target="../tags/tag53.xml"/><Relationship Id="rId30" Type="http://schemas.openxmlformats.org/officeDocument/2006/relationships/image" Target="../media/image5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13" Type="http://schemas.openxmlformats.org/officeDocument/2006/relationships/slideLayout" Target="../slideLayouts/slideLayout286.xml"/><Relationship Id="rId18" Type="http://schemas.openxmlformats.org/officeDocument/2006/relationships/slideLayout" Target="../slideLayouts/slideLayout291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276.xml"/><Relationship Id="rId21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80.xml"/><Relationship Id="rId12" Type="http://schemas.openxmlformats.org/officeDocument/2006/relationships/slideLayout" Target="../slideLayouts/slideLayout285.xml"/><Relationship Id="rId17" Type="http://schemas.openxmlformats.org/officeDocument/2006/relationships/slideLayout" Target="../slideLayouts/slideLayout290.xml"/><Relationship Id="rId25" Type="http://schemas.openxmlformats.org/officeDocument/2006/relationships/theme" Target="../theme/theme15.xml"/><Relationship Id="rId2" Type="http://schemas.openxmlformats.org/officeDocument/2006/relationships/slideLayout" Target="../slideLayouts/slideLayout275.xml"/><Relationship Id="rId16" Type="http://schemas.openxmlformats.org/officeDocument/2006/relationships/slideLayout" Target="../slideLayouts/slideLayout289.xml"/><Relationship Id="rId20" Type="http://schemas.openxmlformats.org/officeDocument/2006/relationships/slideLayout" Target="../slideLayouts/slideLayout293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84.xml"/><Relationship Id="rId24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78.xml"/><Relationship Id="rId15" Type="http://schemas.openxmlformats.org/officeDocument/2006/relationships/slideLayout" Target="../slideLayouts/slideLayout288.xml"/><Relationship Id="rId23" Type="http://schemas.openxmlformats.org/officeDocument/2006/relationships/slideLayout" Target="../slideLayouts/slideLayout296.xml"/><Relationship Id="rId10" Type="http://schemas.openxmlformats.org/officeDocument/2006/relationships/slideLayout" Target="../slideLayouts/slideLayout283.xml"/><Relationship Id="rId19" Type="http://schemas.openxmlformats.org/officeDocument/2006/relationships/slideLayout" Target="../slideLayouts/slideLayout292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slideLayout" Target="../slideLayouts/slideLayout287.xml"/><Relationship Id="rId22" Type="http://schemas.openxmlformats.org/officeDocument/2006/relationships/slideLayout" Target="../slideLayouts/slideLayout29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5.xml"/><Relationship Id="rId13" Type="http://schemas.openxmlformats.org/officeDocument/2006/relationships/slideLayout" Target="../slideLayouts/slideLayout310.xml"/><Relationship Id="rId18" Type="http://schemas.openxmlformats.org/officeDocument/2006/relationships/slideLayout" Target="../slideLayouts/slideLayout315.xml"/><Relationship Id="rId26" Type="http://schemas.openxmlformats.org/officeDocument/2006/relationships/theme" Target="../theme/theme16.xml"/><Relationship Id="rId3" Type="http://schemas.openxmlformats.org/officeDocument/2006/relationships/slideLayout" Target="../slideLayouts/slideLayout300.xml"/><Relationship Id="rId21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04.xml"/><Relationship Id="rId12" Type="http://schemas.openxmlformats.org/officeDocument/2006/relationships/slideLayout" Target="../slideLayouts/slideLayout309.xml"/><Relationship Id="rId17" Type="http://schemas.openxmlformats.org/officeDocument/2006/relationships/slideLayout" Target="../slideLayouts/slideLayout314.xml"/><Relationship Id="rId25" Type="http://schemas.openxmlformats.org/officeDocument/2006/relationships/slideLayout" Target="../slideLayouts/slideLayout322.xml"/><Relationship Id="rId2" Type="http://schemas.openxmlformats.org/officeDocument/2006/relationships/slideLayout" Target="../slideLayouts/slideLayout299.xml"/><Relationship Id="rId16" Type="http://schemas.openxmlformats.org/officeDocument/2006/relationships/slideLayout" Target="../slideLayouts/slideLayout313.xml"/><Relationship Id="rId20" Type="http://schemas.openxmlformats.org/officeDocument/2006/relationships/slideLayout" Target="../slideLayouts/slideLayout317.xml"/><Relationship Id="rId1" Type="http://schemas.openxmlformats.org/officeDocument/2006/relationships/slideLayout" Target="../slideLayouts/slideLayout298.xml"/><Relationship Id="rId6" Type="http://schemas.openxmlformats.org/officeDocument/2006/relationships/slideLayout" Target="../slideLayouts/slideLayout303.xml"/><Relationship Id="rId11" Type="http://schemas.openxmlformats.org/officeDocument/2006/relationships/slideLayout" Target="../slideLayouts/slideLayout308.xml"/><Relationship Id="rId24" Type="http://schemas.openxmlformats.org/officeDocument/2006/relationships/slideLayout" Target="../slideLayouts/slideLayout321.xml"/><Relationship Id="rId5" Type="http://schemas.openxmlformats.org/officeDocument/2006/relationships/slideLayout" Target="../slideLayouts/slideLayout302.xml"/><Relationship Id="rId15" Type="http://schemas.openxmlformats.org/officeDocument/2006/relationships/slideLayout" Target="../slideLayouts/slideLayout312.xml"/><Relationship Id="rId23" Type="http://schemas.openxmlformats.org/officeDocument/2006/relationships/slideLayout" Target="../slideLayouts/slideLayout320.xml"/><Relationship Id="rId10" Type="http://schemas.openxmlformats.org/officeDocument/2006/relationships/slideLayout" Target="../slideLayouts/slideLayout307.xml"/><Relationship Id="rId19" Type="http://schemas.openxmlformats.org/officeDocument/2006/relationships/slideLayout" Target="../slideLayouts/slideLayout316.xml"/><Relationship Id="rId4" Type="http://schemas.openxmlformats.org/officeDocument/2006/relationships/slideLayout" Target="../slideLayouts/slideLayout301.xml"/><Relationship Id="rId9" Type="http://schemas.openxmlformats.org/officeDocument/2006/relationships/slideLayout" Target="../slideLayouts/slideLayout306.xml"/><Relationship Id="rId14" Type="http://schemas.openxmlformats.org/officeDocument/2006/relationships/slideLayout" Target="../slideLayouts/slideLayout311.xml"/><Relationship Id="rId22" Type="http://schemas.openxmlformats.org/officeDocument/2006/relationships/slideLayout" Target="../slideLayouts/slideLayout319.xml"/><Relationship Id="rId27" Type="http://schemas.openxmlformats.org/officeDocument/2006/relationships/image" Target="../media/image1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0.xml"/><Relationship Id="rId13" Type="http://schemas.openxmlformats.org/officeDocument/2006/relationships/slideLayout" Target="../slideLayouts/slideLayout335.xml"/><Relationship Id="rId18" Type="http://schemas.openxmlformats.org/officeDocument/2006/relationships/slideLayout" Target="../slideLayouts/slideLayout340.xml"/><Relationship Id="rId3" Type="http://schemas.openxmlformats.org/officeDocument/2006/relationships/slideLayout" Target="../slideLayouts/slideLayout325.xml"/><Relationship Id="rId21" Type="http://schemas.openxmlformats.org/officeDocument/2006/relationships/slideLayout" Target="../slideLayouts/slideLayout343.xml"/><Relationship Id="rId7" Type="http://schemas.openxmlformats.org/officeDocument/2006/relationships/slideLayout" Target="../slideLayouts/slideLayout329.xml"/><Relationship Id="rId12" Type="http://schemas.openxmlformats.org/officeDocument/2006/relationships/slideLayout" Target="../slideLayouts/slideLayout334.xml"/><Relationship Id="rId17" Type="http://schemas.openxmlformats.org/officeDocument/2006/relationships/slideLayout" Target="../slideLayouts/slideLayout339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324.xml"/><Relationship Id="rId16" Type="http://schemas.openxmlformats.org/officeDocument/2006/relationships/slideLayout" Target="../slideLayouts/slideLayout338.xml"/><Relationship Id="rId20" Type="http://schemas.openxmlformats.org/officeDocument/2006/relationships/slideLayout" Target="../slideLayouts/slideLayout342.xml"/><Relationship Id="rId1" Type="http://schemas.openxmlformats.org/officeDocument/2006/relationships/slideLayout" Target="../slideLayouts/slideLayout323.xml"/><Relationship Id="rId6" Type="http://schemas.openxmlformats.org/officeDocument/2006/relationships/slideLayout" Target="../slideLayouts/slideLayout328.xml"/><Relationship Id="rId11" Type="http://schemas.openxmlformats.org/officeDocument/2006/relationships/slideLayout" Target="../slideLayouts/slideLayout333.xml"/><Relationship Id="rId24" Type="http://schemas.openxmlformats.org/officeDocument/2006/relationships/theme" Target="../theme/theme17.xml"/><Relationship Id="rId5" Type="http://schemas.openxmlformats.org/officeDocument/2006/relationships/slideLayout" Target="../slideLayouts/slideLayout327.xml"/><Relationship Id="rId15" Type="http://schemas.openxmlformats.org/officeDocument/2006/relationships/slideLayout" Target="../slideLayouts/slideLayout337.xml"/><Relationship Id="rId23" Type="http://schemas.openxmlformats.org/officeDocument/2006/relationships/slideLayout" Target="../slideLayouts/slideLayout345.xml"/><Relationship Id="rId10" Type="http://schemas.openxmlformats.org/officeDocument/2006/relationships/slideLayout" Target="../slideLayouts/slideLayout332.xml"/><Relationship Id="rId19" Type="http://schemas.openxmlformats.org/officeDocument/2006/relationships/slideLayout" Target="../slideLayouts/slideLayout341.xml"/><Relationship Id="rId4" Type="http://schemas.openxmlformats.org/officeDocument/2006/relationships/slideLayout" Target="../slideLayouts/slideLayout326.xml"/><Relationship Id="rId9" Type="http://schemas.openxmlformats.org/officeDocument/2006/relationships/slideLayout" Target="../slideLayouts/slideLayout331.xml"/><Relationship Id="rId14" Type="http://schemas.openxmlformats.org/officeDocument/2006/relationships/slideLayout" Target="../slideLayouts/slideLayout336.xml"/><Relationship Id="rId22" Type="http://schemas.openxmlformats.org/officeDocument/2006/relationships/slideLayout" Target="../slideLayouts/slideLayout34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3.xml"/><Relationship Id="rId13" Type="http://schemas.openxmlformats.org/officeDocument/2006/relationships/slideLayout" Target="../slideLayouts/slideLayout358.xml"/><Relationship Id="rId18" Type="http://schemas.openxmlformats.org/officeDocument/2006/relationships/slideLayout" Target="../slideLayouts/slideLayout363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348.xml"/><Relationship Id="rId21" Type="http://schemas.openxmlformats.org/officeDocument/2006/relationships/slideLayout" Target="../slideLayouts/slideLayout366.xml"/><Relationship Id="rId7" Type="http://schemas.openxmlformats.org/officeDocument/2006/relationships/slideLayout" Target="../slideLayouts/slideLayout352.xml"/><Relationship Id="rId12" Type="http://schemas.openxmlformats.org/officeDocument/2006/relationships/slideLayout" Target="../slideLayouts/slideLayout357.xml"/><Relationship Id="rId17" Type="http://schemas.openxmlformats.org/officeDocument/2006/relationships/slideLayout" Target="../slideLayouts/slideLayout362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347.xml"/><Relationship Id="rId16" Type="http://schemas.openxmlformats.org/officeDocument/2006/relationships/slideLayout" Target="../slideLayouts/slideLayout361.xml"/><Relationship Id="rId20" Type="http://schemas.openxmlformats.org/officeDocument/2006/relationships/slideLayout" Target="../slideLayouts/slideLayout365.xml"/><Relationship Id="rId1" Type="http://schemas.openxmlformats.org/officeDocument/2006/relationships/slideLayout" Target="../slideLayouts/slideLayout346.xml"/><Relationship Id="rId6" Type="http://schemas.openxmlformats.org/officeDocument/2006/relationships/slideLayout" Target="../slideLayouts/slideLayout351.xml"/><Relationship Id="rId11" Type="http://schemas.openxmlformats.org/officeDocument/2006/relationships/slideLayout" Target="../slideLayouts/slideLayout356.xml"/><Relationship Id="rId24" Type="http://schemas.openxmlformats.org/officeDocument/2006/relationships/tags" Target="../tags/tag88.xml"/><Relationship Id="rId5" Type="http://schemas.openxmlformats.org/officeDocument/2006/relationships/slideLayout" Target="../slideLayouts/slideLayout350.xml"/><Relationship Id="rId15" Type="http://schemas.openxmlformats.org/officeDocument/2006/relationships/slideLayout" Target="../slideLayouts/slideLayout360.xml"/><Relationship Id="rId23" Type="http://schemas.openxmlformats.org/officeDocument/2006/relationships/tags" Target="../tags/tag87.xml"/><Relationship Id="rId10" Type="http://schemas.openxmlformats.org/officeDocument/2006/relationships/slideLayout" Target="../slideLayouts/slideLayout355.xml"/><Relationship Id="rId19" Type="http://schemas.openxmlformats.org/officeDocument/2006/relationships/slideLayout" Target="../slideLayouts/slideLayout364.xml"/><Relationship Id="rId4" Type="http://schemas.openxmlformats.org/officeDocument/2006/relationships/slideLayout" Target="../slideLayouts/slideLayout349.xml"/><Relationship Id="rId9" Type="http://schemas.openxmlformats.org/officeDocument/2006/relationships/slideLayout" Target="../slideLayouts/slideLayout354.xml"/><Relationship Id="rId14" Type="http://schemas.openxmlformats.org/officeDocument/2006/relationships/slideLayout" Target="../slideLayouts/slideLayout359.xml"/><Relationship Id="rId22" Type="http://schemas.openxmlformats.org/officeDocument/2006/relationships/theme" Target="../theme/theme18.xml"/><Relationship Id="rId27" Type="http://schemas.openxmlformats.org/officeDocument/2006/relationships/image" Target="../media/image5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4.xml"/><Relationship Id="rId13" Type="http://schemas.openxmlformats.org/officeDocument/2006/relationships/slideLayout" Target="../slideLayouts/slideLayout379.xml"/><Relationship Id="rId18" Type="http://schemas.openxmlformats.org/officeDocument/2006/relationships/slideLayout" Target="../slideLayouts/slideLayout384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369.xml"/><Relationship Id="rId21" Type="http://schemas.openxmlformats.org/officeDocument/2006/relationships/theme" Target="../theme/theme19.xml"/><Relationship Id="rId7" Type="http://schemas.openxmlformats.org/officeDocument/2006/relationships/slideLayout" Target="../slideLayouts/slideLayout373.xml"/><Relationship Id="rId12" Type="http://schemas.openxmlformats.org/officeDocument/2006/relationships/slideLayout" Target="../slideLayouts/slideLayout378.xml"/><Relationship Id="rId17" Type="http://schemas.openxmlformats.org/officeDocument/2006/relationships/slideLayout" Target="../slideLayouts/slideLayout383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368.xml"/><Relationship Id="rId16" Type="http://schemas.openxmlformats.org/officeDocument/2006/relationships/slideLayout" Target="../slideLayouts/slideLayout382.xml"/><Relationship Id="rId20" Type="http://schemas.openxmlformats.org/officeDocument/2006/relationships/slideLayout" Target="../slideLayouts/slideLayout386.xml"/><Relationship Id="rId1" Type="http://schemas.openxmlformats.org/officeDocument/2006/relationships/slideLayout" Target="../slideLayouts/slideLayout367.xml"/><Relationship Id="rId6" Type="http://schemas.openxmlformats.org/officeDocument/2006/relationships/slideLayout" Target="../slideLayouts/slideLayout372.xml"/><Relationship Id="rId11" Type="http://schemas.openxmlformats.org/officeDocument/2006/relationships/slideLayout" Target="../slideLayouts/slideLayout377.xml"/><Relationship Id="rId24" Type="http://schemas.openxmlformats.org/officeDocument/2006/relationships/oleObject" Target="../embeddings/oleObject5.bin"/><Relationship Id="rId5" Type="http://schemas.openxmlformats.org/officeDocument/2006/relationships/slideLayout" Target="../slideLayouts/slideLayout371.xml"/><Relationship Id="rId15" Type="http://schemas.openxmlformats.org/officeDocument/2006/relationships/slideLayout" Target="../slideLayouts/slideLayout381.xml"/><Relationship Id="rId23" Type="http://schemas.openxmlformats.org/officeDocument/2006/relationships/tags" Target="../tags/tag90.xml"/><Relationship Id="rId10" Type="http://schemas.openxmlformats.org/officeDocument/2006/relationships/slideLayout" Target="../slideLayouts/slideLayout376.xml"/><Relationship Id="rId19" Type="http://schemas.openxmlformats.org/officeDocument/2006/relationships/slideLayout" Target="../slideLayouts/slideLayout385.xml"/><Relationship Id="rId4" Type="http://schemas.openxmlformats.org/officeDocument/2006/relationships/slideLayout" Target="../slideLayouts/slideLayout370.xml"/><Relationship Id="rId9" Type="http://schemas.openxmlformats.org/officeDocument/2006/relationships/slideLayout" Target="../slideLayouts/slideLayout375.xml"/><Relationship Id="rId14" Type="http://schemas.openxmlformats.org/officeDocument/2006/relationships/slideLayout" Target="../slideLayouts/slideLayout380.xml"/><Relationship Id="rId22" Type="http://schemas.openxmlformats.org/officeDocument/2006/relationships/tags" Target="../tags/tag8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4.xml"/><Relationship Id="rId13" Type="http://schemas.openxmlformats.org/officeDocument/2006/relationships/slideLayout" Target="../slideLayouts/slideLayout399.xml"/><Relationship Id="rId18" Type="http://schemas.openxmlformats.org/officeDocument/2006/relationships/slideLayout" Target="../slideLayouts/slideLayout404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389.xml"/><Relationship Id="rId21" Type="http://schemas.openxmlformats.org/officeDocument/2006/relationships/slideLayout" Target="../slideLayouts/slideLayout407.xml"/><Relationship Id="rId7" Type="http://schemas.openxmlformats.org/officeDocument/2006/relationships/slideLayout" Target="../slideLayouts/slideLayout393.xml"/><Relationship Id="rId12" Type="http://schemas.openxmlformats.org/officeDocument/2006/relationships/slideLayout" Target="../slideLayouts/slideLayout398.xml"/><Relationship Id="rId17" Type="http://schemas.openxmlformats.org/officeDocument/2006/relationships/slideLayout" Target="../slideLayouts/slideLayout403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388.xml"/><Relationship Id="rId16" Type="http://schemas.openxmlformats.org/officeDocument/2006/relationships/slideLayout" Target="../slideLayouts/slideLayout402.xml"/><Relationship Id="rId20" Type="http://schemas.openxmlformats.org/officeDocument/2006/relationships/slideLayout" Target="../slideLayouts/slideLayout406.xml"/><Relationship Id="rId1" Type="http://schemas.openxmlformats.org/officeDocument/2006/relationships/slideLayout" Target="../slideLayouts/slideLayout387.xml"/><Relationship Id="rId6" Type="http://schemas.openxmlformats.org/officeDocument/2006/relationships/slideLayout" Target="../slideLayouts/slideLayout392.xml"/><Relationship Id="rId11" Type="http://schemas.openxmlformats.org/officeDocument/2006/relationships/slideLayout" Target="../slideLayouts/slideLayout397.xml"/><Relationship Id="rId24" Type="http://schemas.openxmlformats.org/officeDocument/2006/relationships/tags" Target="../tags/tag92.xml"/><Relationship Id="rId5" Type="http://schemas.openxmlformats.org/officeDocument/2006/relationships/slideLayout" Target="../slideLayouts/slideLayout391.xml"/><Relationship Id="rId15" Type="http://schemas.openxmlformats.org/officeDocument/2006/relationships/slideLayout" Target="../slideLayouts/slideLayout401.xml"/><Relationship Id="rId23" Type="http://schemas.openxmlformats.org/officeDocument/2006/relationships/tags" Target="../tags/tag91.xml"/><Relationship Id="rId10" Type="http://schemas.openxmlformats.org/officeDocument/2006/relationships/slideLayout" Target="../slideLayouts/slideLayout396.xml"/><Relationship Id="rId19" Type="http://schemas.openxmlformats.org/officeDocument/2006/relationships/slideLayout" Target="../slideLayouts/slideLayout405.xml"/><Relationship Id="rId4" Type="http://schemas.openxmlformats.org/officeDocument/2006/relationships/slideLayout" Target="../slideLayouts/slideLayout390.xml"/><Relationship Id="rId9" Type="http://schemas.openxmlformats.org/officeDocument/2006/relationships/slideLayout" Target="../slideLayouts/slideLayout395.xml"/><Relationship Id="rId14" Type="http://schemas.openxmlformats.org/officeDocument/2006/relationships/slideLayout" Target="../slideLayouts/slideLayout400.xml"/><Relationship Id="rId22" Type="http://schemas.openxmlformats.org/officeDocument/2006/relationships/theme" Target="../theme/theme20.xml"/><Relationship Id="rId27" Type="http://schemas.openxmlformats.org/officeDocument/2006/relationships/image" Target="../media/image5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0.xml"/><Relationship Id="rId2" Type="http://schemas.openxmlformats.org/officeDocument/2006/relationships/slideLayout" Target="../slideLayouts/slideLayout409.xml"/><Relationship Id="rId1" Type="http://schemas.openxmlformats.org/officeDocument/2006/relationships/slideLayout" Target="../slideLayouts/slideLayout408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412.xml"/><Relationship Id="rId4" Type="http://schemas.openxmlformats.org/officeDocument/2006/relationships/slideLayout" Target="../slideLayouts/slideLayout41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0.xml"/><Relationship Id="rId13" Type="http://schemas.openxmlformats.org/officeDocument/2006/relationships/slideLayout" Target="../slideLayouts/slideLayout425.xml"/><Relationship Id="rId18" Type="http://schemas.openxmlformats.org/officeDocument/2006/relationships/slideLayout" Target="../slideLayouts/slideLayout430.xml"/><Relationship Id="rId26" Type="http://schemas.openxmlformats.org/officeDocument/2006/relationships/slideLayout" Target="../slideLayouts/slideLayout438.xml"/><Relationship Id="rId3" Type="http://schemas.openxmlformats.org/officeDocument/2006/relationships/slideLayout" Target="../slideLayouts/slideLayout415.xml"/><Relationship Id="rId21" Type="http://schemas.openxmlformats.org/officeDocument/2006/relationships/slideLayout" Target="../slideLayouts/slideLayout433.xml"/><Relationship Id="rId7" Type="http://schemas.openxmlformats.org/officeDocument/2006/relationships/slideLayout" Target="../slideLayouts/slideLayout419.xml"/><Relationship Id="rId12" Type="http://schemas.openxmlformats.org/officeDocument/2006/relationships/slideLayout" Target="../slideLayouts/slideLayout424.xml"/><Relationship Id="rId17" Type="http://schemas.openxmlformats.org/officeDocument/2006/relationships/slideLayout" Target="../slideLayouts/slideLayout429.xml"/><Relationship Id="rId25" Type="http://schemas.openxmlformats.org/officeDocument/2006/relationships/slideLayout" Target="../slideLayouts/slideLayout437.xml"/><Relationship Id="rId2" Type="http://schemas.openxmlformats.org/officeDocument/2006/relationships/slideLayout" Target="../slideLayouts/slideLayout414.xml"/><Relationship Id="rId16" Type="http://schemas.openxmlformats.org/officeDocument/2006/relationships/slideLayout" Target="../slideLayouts/slideLayout428.xml"/><Relationship Id="rId20" Type="http://schemas.openxmlformats.org/officeDocument/2006/relationships/slideLayout" Target="../slideLayouts/slideLayout432.xml"/><Relationship Id="rId29" Type="http://schemas.openxmlformats.org/officeDocument/2006/relationships/image" Target="../media/image14.png"/><Relationship Id="rId1" Type="http://schemas.openxmlformats.org/officeDocument/2006/relationships/slideLayout" Target="../slideLayouts/slideLayout413.xml"/><Relationship Id="rId6" Type="http://schemas.openxmlformats.org/officeDocument/2006/relationships/slideLayout" Target="../slideLayouts/slideLayout418.xml"/><Relationship Id="rId11" Type="http://schemas.openxmlformats.org/officeDocument/2006/relationships/slideLayout" Target="../slideLayouts/slideLayout423.xml"/><Relationship Id="rId24" Type="http://schemas.openxmlformats.org/officeDocument/2006/relationships/slideLayout" Target="../slideLayouts/slideLayout436.xml"/><Relationship Id="rId5" Type="http://schemas.openxmlformats.org/officeDocument/2006/relationships/slideLayout" Target="../slideLayouts/slideLayout417.xml"/><Relationship Id="rId15" Type="http://schemas.openxmlformats.org/officeDocument/2006/relationships/slideLayout" Target="../slideLayouts/slideLayout427.xml"/><Relationship Id="rId23" Type="http://schemas.openxmlformats.org/officeDocument/2006/relationships/slideLayout" Target="../slideLayouts/slideLayout435.xml"/><Relationship Id="rId28" Type="http://schemas.openxmlformats.org/officeDocument/2006/relationships/theme" Target="../theme/theme22.xml"/><Relationship Id="rId10" Type="http://schemas.openxmlformats.org/officeDocument/2006/relationships/slideLayout" Target="../slideLayouts/slideLayout422.xml"/><Relationship Id="rId19" Type="http://schemas.openxmlformats.org/officeDocument/2006/relationships/slideLayout" Target="../slideLayouts/slideLayout431.xml"/><Relationship Id="rId4" Type="http://schemas.openxmlformats.org/officeDocument/2006/relationships/slideLayout" Target="../slideLayouts/slideLayout416.xml"/><Relationship Id="rId9" Type="http://schemas.openxmlformats.org/officeDocument/2006/relationships/slideLayout" Target="../slideLayouts/slideLayout421.xml"/><Relationship Id="rId14" Type="http://schemas.openxmlformats.org/officeDocument/2006/relationships/slideLayout" Target="../slideLayouts/slideLayout426.xml"/><Relationship Id="rId22" Type="http://schemas.openxmlformats.org/officeDocument/2006/relationships/slideLayout" Target="../slideLayouts/slideLayout434.xml"/><Relationship Id="rId27" Type="http://schemas.openxmlformats.org/officeDocument/2006/relationships/slideLayout" Target="../slideLayouts/slideLayout43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13" Type="http://schemas.openxmlformats.org/officeDocument/2006/relationships/slideLayout" Target="../slideLayouts/slideLayout452.xml"/><Relationship Id="rId18" Type="http://schemas.openxmlformats.org/officeDocument/2006/relationships/slideLayout" Target="../slideLayouts/slideLayout457.xml"/><Relationship Id="rId3" Type="http://schemas.openxmlformats.org/officeDocument/2006/relationships/slideLayout" Target="../slideLayouts/slideLayout442.xml"/><Relationship Id="rId21" Type="http://schemas.openxmlformats.org/officeDocument/2006/relationships/slideLayout" Target="../slideLayouts/slideLayout460.xml"/><Relationship Id="rId7" Type="http://schemas.openxmlformats.org/officeDocument/2006/relationships/slideLayout" Target="../slideLayouts/slideLayout446.xml"/><Relationship Id="rId12" Type="http://schemas.openxmlformats.org/officeDocument/2006/relationships/slideLayout" Target="../slideLayouts/slideLayout451.xml"/><Relationship Id="rId17" Type="http://schemas.openxmlformats.org/officeDocument/2006/relationships/slideLayout" Target="../slideLayouts/slideLayout456.xml"/><Relationship Id="rId25" Type="http://schemas.openxmlformats.org/officeDocument/2006/relationships/theme" Target="../theme/theme23.xml"/><Relationship Id="rId2" Type="http://schemas.openxmlformats.org/officeDocument/2006/relationships/slideLayout" Target="../slideLayouts/slideLayout441.xml"/><Relationship Id="rId16" Type="http://schemas.openxmlformats.org/officeDocument/2006/relationships/slideLayout" Target="../slideLayouts/slideLayout455.xml"/><Relationship Id="rId20" Type="http://schemas.openxmlformats.org/officeDocument/2006/relationships/slideLayout" Target="../slideLayouts/slideLayout459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slideLayout" Target="../slideLayouts/slideLayout450.xml"/><Relationship Id="rId24" Type="http://schemas.openxmlformats.org/officeDocument/2006/relationships/slideLayout" Target="../slideLayouts/slideLayout463.xml"/><Relationship Id="rId5" Type="http://schemas.openxmlformats.org/officeDocument/2006/relationships/slideLayout" Target="../slideLayouts/slideLayout444.xml"/><Relationship Id="rId15" Type="http://schemas.openxmlformats.org/officeDocument/2006/relationships/slideLayout" Target="../slideLayouts/slideLayout454.xml"/><Relationship Id="rId23" Type="http://schemas.openxmlformats.org/officeDocument/2006/relationships/slideLayout" Target="../slideLayouts/slideLayout462.xml"/><Relationship Id="rId10" Type="http://schemas.openxmlformats.org/officeDocument/2006/relationships/slideLayout" Target="../slideLayouts/slideLayout449.xml"/><Relationship Id="rId19" Type="http://schemas.openxmlformats.org/officeDocument/2006/relationships/slideLayout" Target="../slideLayouts/slideLayout458.xml"/><Relationship Id="rId4" Type="http://schemas.openxmlformats.org/officeDocument/2006/relationships/slideLayout" Target="../slideLayouts/slideLayout443.xml"/><Relationship Id="rId9" Type="http://schemas.openxmlformats.org/officeDocument/2006/relationships/slideLayout" Target="../slideLayouts/slideLayout448.xml"/><Relationship Id="rId14" Type="http://schemas.openxmlformats.org/officeDocument/2006/relationships/slideLayout" Target="../slideLayouts/slideLayout453.xml"/><Relationship Id="rId22" Type="http://schemas.openxmlformats.org/officeDocument/2006/relationships/slideLayout" Target="../slideLayouts/slideLayout461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1.xml"/><Relationship Id="rId3" Type="http://schemas.openxmlformats.org/officeDocument/2006/relationships/slideLayout" Target="../slideLayouts/slideLayout466.xml"/><Relationship Id="rId7" Type="http://schemas.openxmlformats.org/officeDocument/2006/relationships/slideLayout" Target="../slideLayouts/slideLayout470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465.xml"/><Relationship Id="rId1" Type="http://schemas.openxmlformats.org/officeDocument/2006/relationships/slideLayout" Target="../slideLayouts/slideLayout464.xml"/><Relationship Id="rId6" Type="http://schemas.openxmlformats.org/officeDocument/2006/relationships/slideLayout" Target="../slideLayouts/slideLayout469.xml"/><Relationship Id="rId11" Type="http://schemas.openxmlformats.org/officeDocument/2006/relationships/slideLayout" Target="../slideLayouts/slideLayout474.xml"/><Relationship Id="rId5" Type="http://schemas.openxmlformats.org/officeDocument/2006/relationships/slideLayout" Target="../slideLayouts/slideLayout468.xml"/><Relationship Id="rId10" Type="http://schemas.openxmlformats.org/officeDocument/2006/relationships/slideLayout" Target="../slideLayouts/slideLayout473.xml"/><Relationship Id="rId4" Type="http://schemas.openxmlformats.org/officeDocument/2006/relationships/slideLayout" Target="../slideLayouts/slideLayout467.xml"/><Relationship Id="rId9" Type="http://schemas.openxmlformats.org/officeDocument/2006/relationships/slideLayout" Target="../slideLayouts/slideLayout47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image" Target="../media/image4.emf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tags" Target="../tags/tag2.xml"/><Relationship Id="rId30" Type="http://schemas.openxmlformats.org/officeDocument/2006/relationships/image" Target="../media/image5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97.xml"/><Relationship Id="rId21" Type="http://schemas.openxmlformats.org/officeDocument/2006/relationships/tags" Target="../tags/tag36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tags" Target="../tags/tag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16.xml"/><Relationship Id="rId21" Type="http://schemas.openxmlformats.org/officeDocument/2006/relationships/tags" Target="../tags/tag38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tags" Target="../tags/tag3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35.xml"/><Relationship Id="rId21" Type="http://schemas.openxmlformats.org/officeDocument/2006/relationships/tags" Target="../tags/tag40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tags" Target="../tags/tag4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42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61.xml"/><Relationship Id="rId19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tags" Target="../tags/tag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tshållare för rubrik 1">
            <a:extLst>
              <a:ext uri="{FF2B5EF4-FFF2-40B4-BE49-F238E27FC236}">
                <a16:creationId xmlns:a16="http://schemas.microsoft.com/office/drawing/2014/main" id="{AA58DC56-2FDC-CB42-9BE3-6EA0D05F08F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5167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</a:t>
            </a:r>
          </a:p>
        </p:txBody>
      </p:sp>
      <p:sp>
        <p:nvSpPr>
          <p:cNvPr id="1027" name="Platshållare för text 2">
            <a:extLst>
              <a:ext uri="{FF2B5EF4-FFF2-40B4-BE49-F238E27FC236}">
                <a16:creationId xmlns:a16="http://schemas.microsoft.com/office/drawing/2014/main" id="{AC76B1AE-542A-B54D-B735-207A479B584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0"/>
            <a:ext cx="10972800" cy="4421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 på bakgrundstexten</a:t>
            </a:r>
          </a:p>
          <a:p>
            <a:pPr lvl="1"/>
            <a:r>
              <a:rPr lang="sv-SE" altLang="sv-SE"/>
              <a:t>Nivå två</a:t>
            </a:r>
          </a:p>
          <a:p>
            <a:pPr lvl="2"/>
            <a:r>
              <a:rPr lang="sv-SE" altLang="sv-SE"/>
              <a:t>Nivå tre</a:t>
            </a:r>
          </a:p>
          <a:p>
            <a:pPr lvl="3"/>
            <a:r>
              <a:rPr lang="sv-SE" altLang="sv-SE"/>
              <a:t>Nivå fyra</a:t>
            </a:r>
          </a:p>
          <a:p>
            <a:pPr lvl="4"/>
            <a:r>
              <a:rPr lang="sv-SE" alt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34329D0-5BA6-4241-A70E-4418638430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84167" y="6326718"/>
            <a:ext cx="1536700" cy="36618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270D4AD-BC68-2D4A-B3A6-4B80B6A6E4D3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8FFAF4E-6628-48F4-A2DF-714016755B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484" y="6356351"/>
            <a:ext cx="5664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F9C3A1E-5F31-483E-8112-2CC850103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4418" y="6356351"/>
            <a:ext cx="1581149" cy="36618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479A252-D4AD-5E42-8FCD-1E275AE3000A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542457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</p:sldLayoutIdLst>
  <p:txStyles>
    <p:titleStyle>
      <a:lvl1pPr algn="l" defTabSz="609585" rtl="0" eaLnBrk="0" fontAlgn="base" hangingPunct="0">
        <a:spcBef>
          <a:spcPct val="0"/>
        </a:spcBef>
        <a:spcAft>
          <a:spcPct val="0"/>
        </a:spcAft>
        <a:defRPr sz="4267" b="1" kern="1200">
          <a:solidFill>
            <a:schemeClr val="tx1"/>
          </a:solidFill>
          <a:latin typeface="+mj-lt"/>
          <a:ea typeface="MS PGothic" panose="020B0600070205080204" pitchFamily="34" charset="-128"/>
          <a:cs typeface="Arial"/>
        </a:defRPr>
      </a:lvl1pPr>
      <a:lvl2pPr algn="l" defTabSz="609585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MS PGothic" panose="020B0600070205080204" pitchFamily="34" charset="-128"/>
          <a:cs typeface="Arial" panose="020B0604020202020204" pitchFamily="34" charset="0"/>
        </a:defRPr>
      </a:lvl2pPr>
      <a:lvl3pPr algn="l" defTabSz="609585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MS PGothic" panose="020B0600070205080204" pitchFamily="34" charset="-128"/>
          <a:cs typeface="Arial" panose="020B0604020202020204" pitchFamily="34" charset="0"/>
        </a:defRPr>
      </a:lvl3pPr>
      <a:lvl4pPr algn="l" defTabSz="609585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MS PGothic" panose="020B0600070205080204" pitchFamily="34" charset="-128"/>
          <a:cs typeface="Arial" panose="020B0604020202020204" pitchFamily="34" charset="0"/>
        </a:defRPr>
      </a:lvl4pPr>
      <a:lvl5pPr algn="l" defTabSz="609585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MS PGothic" panose="020B0600070205080204" pitchFamily="34" charset="-128"/>
          <a:cs typeface="Arial" panose="020B0604020202020204" pitchFamily="34" charset="0"/>
        </a:defRPr>
      </a:lvl5pPr>
      <a:lvl6pPr marL="609585" algn="l" defTabSz="609585" rtl="0" fontAlgn="base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ＭＳ Ｐゴシック" charset="0"/>
        </a:defRPr>
      </a:lvl6pPr>
      <a:lvl7pPr marL="1219170" algn="l" defTabSz="609585" rtl="0" fontAlgn="base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ＭＳ Ｐゴシック" charset="0"/>
        </a:defRPr>
      </a:lvl7pPr>
      <a:lvl8pPr marL="1828754" algn="l" defTabSz="609585" rtl="0" fontAlgn="base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ＭＳ Ｐゴシック" charset="0"/>
        </a:defRPr>
      </a:lvl8pPr>
      <a:lvl9pPr marL="2438339" algn="l" defTabSz="609585" rtl="0" fontAlgn="base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defRPr sz="4267" kern="1200">
          <a:solidFill>
            <a:schemeClr val="tx1"/>
          </a:solidFill>
          <a:latin typeface="+mn-lt"/>
          <a:ea typeface="MS PGothic" panose="020B0600070205080204" pitchFamily="34" charset="-128"/>
          <a:cs typeface="Arial"/>
        </a:defRPr>
      </a:lvl1pPr>
      <a:lvl2pPr marL="609585" algn="l" defTabSz="609585" rtl="0" eaLnBrk="0" fontAlgn="base" hangingPunct="0">
        <a:spcBef>
          <a:spcPct val="20000"/>
        </a:spcBef>
        <a:spcAft>
          <a:spcPct val="0"/>
        </a:spcAft>
        <a:defRPr sz="3733" kern="1200">
          <a:solidFill>
            <a:schemeClr val="tx1"/>
          </a:solidFill>
          <a:latin typeface="+mn-lt"/>
          <a:ea typeface="MS PGothic" panose="020B0600070205080204" pitchFamily="34" charset="-128"/>
          <a:cs typeface="Arial"/>
        </a:defRPr>
      </a:lvl2pPr>
      <a:lvl3pPr marL="1219170" algn="l" defTabSz="609585" rtl="0" eaLnBrk="0" fontAlgn="base" hangingPunct="0">
        <a:spcBef>
          <a:spcPct val="20000"/>
        </a:spcBef>
        <a:spcAft>
          <a:spcPct val="0"/>
        </a:spcAft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Arial"/>
        </a:defRPr>
      </a:lvl3pPr>
      <a:lvl4pPr marL="1828754" algn="l" defTabSz="609585" rtl="0" eaLnBrk="0" fontAlgn="base" hangingPunct="0">
        <a:spcBef>
          <a:spcPct val="20000"/>
        </a:spcBef>
        <a:spcAft>
          <a:spcPct val="0"/>
        </a:spcAft>
        <a:defRPr sz="2667" kern="1200">
          <a:solidFill>
            <a:schemeClr val="tx1"/>
          </a:solidFill>
          <a:latin typeface="+mn-lt"/>
          <a:ea typeface="MS PGothic" panose="020B0600070205080204" pitchFamily="34" charset="-128"/>
          <a:cs typeface="Arial"/>
        </a:defRPr>
      </a:lvl4pPr>
      <a:lvl5pPr marL="2438339" algn="l" defTabSz="609585" rtl="0" eaLnBrk="0" fontAlgn="base" hangingPunct="0">
        <a:spcBef>
          <a:spcPct val="20000"/>
        </a:spcBef>
        <a:spcAft>
          <a:spcPct val="0"/>
        </a:spcAft>
        <a:defRPr sz="2667" kern="1200">
          <a:solidFill>
            <a:schemeClr val="tx1"/>
          </a:solidFill>
          <a:latin typeface="+mn-lt"/>
          <a:ea typeface="MS PGothic" panose="020B0600070205080204" pitchFamily="34" charset="-128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E533CE-603E-42CB-A939-CFBC18AE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34431633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E533CE-603E-42CB-A939-CFBC18AE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8B39C-B5CA-4A79-93AD-945AC6B0EAE3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1785516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3" r:id="rId4"/>
    <p:sldLayoutId id="2147484094" r:id="rId5"/>
    <p:sldLayoutId id="2147484095" r:id="rId6"/>
    <p:sldLayoutId id="2147484096" r:id="rId7"/>
    <p:sldLayoutId id="2147484097" r:id="rId8"/>
    <p:sldLayoutId id="2147484098" r:id="rId9"/>
    <p:sldLayoutId id="2147484099" r:id="rId10"/>
    <p:sldLayoutId id="2147484100" r:id="rId11"/>
    <p:sldLayoutId id="2147484101" r:id="rId12"/>
    <p:sldLayoutId id="2147484102" r:id="rId13"/>
    <p:sldLayoutId id="2147484103" r:id="rId14"/>
    <p:sldLayoutId id="2147484104" r:id="rId15"/>
    <p:sldLayoutId id="2147484105" r:id="rId16"/>
    <p:sldLayoutId id="2147484106" r:id="rId17"/>
    <p:sldLayoutId id="2147484107" r:id="rId18"/>
    <p:sldLayoutId id="2147484108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E533CE-603E-42CB-A939-CFBC18AE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6869287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E533CE-603E-42CB-A939-CFBC18AE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8B39C-B5CA-4A79-93AD-945AC6B0EAE3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172352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18" r:id="rId9"/>
    <p:sldLayoutId id="2147484119" r:id="rId10"/>
    <p:sldLayoutId id="2147484120" r:id="rId11"/>
    <p:sldLayoutId id="2147484121" r:id="rId12"/>
    <p:sldLayoutId id="2147484122" r:id="rId13"/>
    <p:sldLayoutId id="2147484123" r:id="rId14"/>
    <p:sldLayoutId id="2147484124" r:id="rId15"/>
    <p:sldLayoutId id="2147484125" r:id="rId16"/>
    <p:sldLayoutId id="2147484126" r:id="rId17"/>
    <p:sldLayoutId id="2147484127" r:id="rId18"/>
    <p:sldLayoutId id="2147484128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E533CE-603E-42CB-A939-CFBC18AE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9257597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E533CE-603E-42CB-A939-CFBC18AE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8B39C-B5CA-4A79-93AD-945AC6B0EAE3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21798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0" r:id="rId1"/>
    <p:sldLayoutId id="2147484131" r:id="rId2"/>
    <p:sldLayoutId id="2147484132" r:id="rId3"/>
    <p:sldLayoutId id="2147484133" r:id="rId4"/>
    <p:sldLayoutId id="2147484134" r:id="rId5"/>
    <p:sldLayoutId id="2147484135" r:id="rId6"/>
    <p:sldLayoutId id="2147484136" r:id="rId7"/>
    <p:sldLayoutId id="2147484137" r:id="rId8"/>
    <p:sldLayoutId id="2147484138" r:id="rId9"/>
    <p:sldLayoutId id="2147484139" r:id="rId10"/>
    <p:sldLayoutId id="2147484140" r:id="rId11"/>
    <p:sldLayoutId id="2147484141" r:id="rId12"/>
    <p:sldLayoutId id="2147484142" r:id="rId13"/>
    <p:sldLayoutId id="2147484143" r:id="rId14"/>
    <p:sldLayoutId id="2147484144" r:id="rId15"/>
    <p:sldLayoutId id="2147484145" r:id="rId16"/>
    <p:sldLayoutId id="2147484146" r:id="rId17"/>
    <p:sldLayoutId id="2147484147" r:id="rId18"/>
    <p:sldLayoutId id="2147484148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E533CE-603E-42CB-A939-CFBC18AE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3158444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53" imgH="353" progId="TCLayout.ActiveDocument.1">
                  <p:embed/>
                </p:oleObj>
              </mc:Choice>
              <mc:Fallback>
                <p:oleObj name="think-cell Slide" r:id="rId26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E533CE-603E-42CB-A939-CFBC18AE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8B39C-B5CA-4A79-93AD-945AC6B0EAE3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3935046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1" r:id="rId1"/>
    <p:sldLayoutId id="2147484152" r:id="rId2"/>
    <p:sldLayoutId id="2147484153" r:id="rId3"/>
    <p:sldLayoutId id="2147484154" r:id="rId4"/>
    <p:sldLayoutId id="2147484155" r:id="rId5"/>
    <p:sldLayoutId id="2147484156" r:id="rId6"/>
    <p:sldLayoutId id="2147484157" r:id="rId7"/>
    <p:sldLayoutId id="2147484158" r:id="rId8"/>
    <p:sldLayoutId id="2147484159" r:id="rId9"/>
    <p:sldLayoutId id="2147484160" r:id="rId10"/>
    <p:sldLayoutId id="2147484161" r:id="rId11"/>
    <p:sldLayoutId id="2147484162" r:id="rId12"/>
    <p:sldLayoutId id="2147484163" r:id="rId13"/>
    <p:sldLayoutId id="2147484164" r:id="rId14"/>
    <p:sldLayoutId id="2147484165" r:id="rId15"/>
    <p:sldLayoutId id="2147484166" r:id="rId16"/>
    <p:sldLayoutId id="2147484167" r:id="rId17"/>
    <p:sldLayoutId id="2147484168" r:id="rId18"/>
    <p:sldLayoutId id="2147484169" r:id="rId19"/>
    <p:sldLayoutId id="2147484170" r:id="rId20"/>
    <p:sldLayoutId id="2147484171" r:id="rId21"/>
    <p:sldLayoutId id="2147484172" r:id="rId2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8F3F2C-5095-46BC-BC6A-E782B8812D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6500328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53" imgH="353" progId="TCLayout.ActiveDocument.1">
                  <p:embed/>
                </p:oleObj>
              </mc:Choice>
              <mc:Fallback>
                <p:oleObj name="think-cell Slide" r:id="rId28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8F3F2C-5095-46BC-BC6A-E782B8812D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1851BE-E605-418F-9574-3E9BD00FDA7D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183F423-6CF7-4C04-BC0B-03D9E41C61FB}"/>
              </a:ext>
            </a:extLst>
          </p:cNvPr>
          <p:cNvSpPr txBox="1"/>
          <p:nvPr userDrawn="1"/>
        </p:nvSpPr>
        <p:spPr>
          <a:xfrm>
            <a:off x="1083578" y="6554787"/>
            <a:ext cx="1096994" cy="14399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>
              <a:defRPr sz="800" b="0">
                <a:solidFill>
                  <a:srgbClr val="212222"/>
                </a:solidFill>
              </a:defRPr>
            </a:lvl1pPr>
          </a:lstStyle>
          <a:p>
            <a:pPr lvl="0"/>
            <a:fld id="{803414E9-85CE-4DF6-9DC1-1FBACD87288A}" type="datetime1">
              <a:rPr lang="sv-SE" sz="600" smtClean="0">
                <a:solidFill>
                  <a:schemeClr val="accent1"/>
                </a:solidFill>
              </a:rPr>
              <a:t>2025-09-17</a:t>
            </a:fld>
            <a:endParaRPr lang="sv-SE" sz="600">
              <a:solidFill>
                <a:schemeClr val="accent1"/>
              </a:solidFill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2737275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8" r:id="rId1"/>
    <p:sldLayoutId id="2147484189" r:id="rId2"/>
    <p:sldLayoutId id="2147484190" r:id="rId3"/>
    <p:sldLayoutId id="2147484191" r:id="rId4"/>
    <p:sldLayoutId id="2147484192" r:id="rId5"/>
    <p:sldLayoutId id="2147484193" r:id="rId6"/>
    <p:sldLayoutId id="2147484194" r:id="rId7"/>
    <p:sldLayoutId id="2147484195" r:id="rId8"/>
    <p:sldLayoutId id="2147484196" r:id="rId9"/>
    <p:sldLayoutId id="2147484197" r:id="rId10"/>
    <p:sldLayoutId id="2147484198" r:id="rId11"/>
    <p:sldLayoutId id="2147484199" r:id="rId12"/>
    <p:sldLayoutId id="2147484200" r:id="rId13"/>
    <p:sldLayoutId id="2147484201" r:id="rId14"/>
    <p:sldLayoutId id="2147484202" r:id="rId15"/>
    <p:sldLayoutId id="2147484203" r:id="rId16"/>
    <p:sldLayoutId id="2147484204" r:id="rId17"/>
    <p:sldLayoutId id="2147484205" r:id="rId18"/>
    <p:sldLayoutId id="2147484206" r:id="rId19"/>
    <p:sldLayoutId id="2147484207" r:id="rId20"/>
    <p:sldLayoutId id="2147484208" r:id="rId21"/>
    <p:sldLayoutId id="2147484209" r:id="rId22"/>
    <p:sldLayoutId id="2147484210" r:id="rId23"/>
    <p:sldLayoutId id="2147484211" r:id="rId2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848FF2D5-DA32-164A-9CEF-0545A6DE5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65125"/>
            <a:ext cx="102965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lägga till tex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3C78B44-F05F-C345-B0FE-5531FEF90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47738" y="1825625"/>
            <a:ext cx="102965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6" name="Bildobjekt 7">
            <a:extLst>
              <a:ext uri="{FF2B5EF4-FFF2-40B4-BE49-F238E27FC236}">
                <a16:creationId xmlns:a16="http://schemas.microsoft.com/office/drawing/2014/main" id="{7298697B-191F-8E40-A871-38F3D1A230A9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693928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57" r:id="rId2"/>
    <p:sldLayoutId id="2147484258" r:id="rId3"/>
    <p:sldLayoutId id="2147484259" r:id="rId4"/>
    <p:sldLayoutId id="2147484260" r:id="rId5"/>
    <p:sldLayoutId id="2147484261" r:id="rId6"/>
    <p:sldLayoutId id="2147484262" r:id="rId7"/>
    <p:sldLayoutId id="2147484263" r:id="rId8"/>
    <p:sldLayoutId id="2147484264" r:id="rId9"/>
    <p:sldLayoutId id="2147484265" r:id="rId10"/>
    <p:sldLayoutId id="2147484266" r:id="rId11"/>
    <p:sldLayoutId id="2147484267" r:id="rId12"/>
    <p:sldLayoutId id="2147484268" r:id="rId13"/>
    <p:sldLayoutId id="2147484269" r:id="rId14"/>
    <p:sldLayoutId id="2147484270" r:id="rId15"/>
    <p:sldLayoutId id="2147484271" r:id="rId16"/>
    <p:sldLayoutId id="2147484272" r:id="rId17"/>
    <p:sldLayoutId id="2147484273" r:id="rId18"/>
    <p:sldLayoutId id="2147484274" r:id="rId19"/>
    <p:sldLayoutId id="2147484275" r:id="rId20"/>
    <p:sldLayoutId id="2147484276" r:id="rId21"/>
    <p:sldLayoutId id="2147484277" r:id="rId22"/>
    <p:sldLayoutId id="2147484278" r:id="rId23"/>
    <p:sldLayoutId id="2147484279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Roboto Medium" panose="02000000000000000000" pitchFamily="2" charset="0"/>
          <a:ea typeface="Roboto Medium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083">
          <p15:clr>
            <a:srgbClr val="F26B43"/>
          </p15:clr>
        </p15:guide>
        <p15:guide id="4" pos="597">
          <p15:clr>
            <a:srgbClr val="F26B43"/>
          </p15:clr>
        </p15:guide>
        <p15:guide id="5" pos="370">
          <p15:clr>
            <a:srgbClr val="F26B43"/>
          </p15:clr>
        </p15:guide>
        <p15:guide id="6" pos="7310">
          <p15:clr>
            <a:srgbClr val="F26B43"/>
          </p15:clr>
        </p15:guide>
        <p15:guide id="7" pos="3727">
          <p15:clr>
            <a:srgbClr val="F26B43"/>
          </p15:clr>
        </p15:guide>
        <p15:guide id="8" pos="3953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848FF2D5-DA32-164A-9CEF-0545A6DE5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65125"/>
            <a:ext cx="102965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lägga till tex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3C78B44-F05F-C345-B0FE-5531FEF90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47738" y="1825625"/>
            <a:ext cx="102965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6" name="Bildobjekt 7">
            <a:extLst>
              <a:ext uri="{FF2B5EF4-FFF2-40B4-BE49-F238E27FC236}">
                <a16:creationId xmlns:a16="http://schemas.microsoft.com/office/drawing/2014/main" id="{7298697B-191F-8E40-A871-38F3D1A230A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314127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  <p:sldLayoutId id="2147484311" r:id="rId11"/>
    <p:sldLayoutId id="2147484312" r:id="rId12"/>
    <p:sldLayoutId id="2147484313" r:id="rId13"/>
    <p:sldLayoutId id="2147484314" r:id="rId14"/>
    <p:sldLayoutId id="2147484315" r:id="rId15"/>
    <p:sldLayoutId id="2147484316" r:id="rId16"/>
    <p:sldLayoutId id="2147484317" r:id="rId17"/>
    <p:sldLayoutId id="2147484318" r:id="rId18"/>
    <p:sldLayoutId id="2147484319" r:id="rId19"/>
    <p:sldLayoutId id="2147484320" r:id="rId20"/>
    <p:sldLayoutId id="2147484321" r:id="rId21"/>
    <p:sldLayoutId id="2147484322" r:id="rId22"/>
    <p:sldLayoutId id="2147484323" r:id="rId23"/>
    <p:sldLayoutId id="2147484324" r:id="rId24"/>
    <p:sldLayoutId id="2147484325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083">
          <p15:clr>
            <a:srgbClr val="F26B43"/>
          </p15:clr>
        </p15:guide>
        <p15:guide id="4" pos="597">
          <p15:clr>
            <a:srgbClr val="F26B43"/>
          </p15:clr>
        </p15:guide>
        <p15:guide id="5" pos="370">
          <p15:clr>
            <a:srgbClr val="F26B43"/>
          </p15:clr>
        </p15:guide>
        <p15:guide id="6" pos="7310">
          <p15:clr>
            <a:srgbClr val="F26B43"/>
          </p15:clr>
        </p15:guide>
        <p15:guide id="7" pos="3727">
          <p15:clr>
            <a:srgbClr val="F26B43"/>
          </p15:clr>
        </p15:guide>
        <p15:guide id="8" pos="3953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848FF2D5-DA32-164A-9CEF-0545A6DE5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65125"/>
            <a:ext cx="102965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lägga till tex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3C78B44-F05F-C345-B0FE-5531FEF90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47738" y="1825625"/>
            <a:ext cx="102965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6" name="Bildobjekt 7">
            <a:extLst>
              <a:ext uri="{FF2B5EF4-FFF2-40B4-BE49-F238E27FC236}">
                <a16:creationId xmlns:a16="http://schemas.microsoft.com/office/drawing/2014/main" id="{7298697B-191F-8E40-A871-38F3D1A230A9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2002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9" r:id="rId1"/>
    <p:sldLayoutId id="2147484390" r:id="rId2"/>
    <p:sldLayoutId id="2147484391" r:id="rId3"/>
    <p:sldLayoutId id="2147484392" r:id="rId4"/>
    <p:sldLayoutId id="2147484393" r:id="rId5"/>
    <p:sldLayoutId id="2147484394" r:id="rId6"/>
    <p:sldLayoutId id="2147484395" r:id="rId7"/>
    <p:sldLayoutId id="2147484396" r:id="rId8"/>
    <p:sldLayoutId id="2147484397" r:id="rId9"/>
    <p:sldLayoutId id="2147484398" r:id="rId10"/>
    <p:sldLayoutId id="2147484399" r:id="rId11"/>
    <p:sldLayoutId id="2147484400" r:id="rId12"/>
    <p:sldLayoutId id="2147484401" r:id="rId13"/>
    <p:sldLayoutId id="2147484402" r:id="rId14"/>
    <p:sldLayoutId id="2147484403" r:id="rId15"/>
    <p:sldLayoutId id="2147484404" r:id="rId16"/>
    <p:sldLayoutId id="2147484405" r:id="rId17"/>
    <p:sldLayoutId id="2147484406" r:id="rId18"/>
    <p:sldLayoutId id="2147484407" r:id="rId19"/>
    <p:sldLayoutId id="2147484408" r:id="rId20"/>
    <p:sldLayoutId id="2147484409" r:id="rId21"/>
    <p:sldLayoutId id="2147484410" r:id="rId22"/>
    <p:sldLayoutId id="2147484411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Roboto Medium" panose="02000000000000000000" pitchFamily="2" charset="0"/>
          <a:ea typeface="Roboto Medium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083">
          <p15:clr>
            <a:srgbClr val="F26B43"/>
          </p15:clr>
        </p15:guide>
        <p15:guide id="4" pos="597">
          <p15:clr>
            <a:srgbClr val="F26B43"/>
          </p15:clr>
        </p15:guide>
        <p15:guide id="5" pos="370">
          <p15:clr>
            <a:srgbClr val="F26B43"/>
          </p15:clr>
        </p15:guide>
        <p15:guide id="6" pos="7310">
          <p15:clr>
            <a:srgbClr val="F26B43"/>
          </p15:clr>
        </p15:guide>
        <p15:guide id="7" pos="3727">
          <p15:clr>
            <a:srgbClr val="F26B43"/>
          </p15:clr>
        </p15:guide>
        <p15:guide id="8" pos="3953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E533CE-603E-42CB-A939-CFBC18AE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31327093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E533CE-603E-42CB-A939-CFBC18AE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8B39C-B5CA-4A79-93AD-945AC6B0EAE3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1631061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7" r:id="rId1"/>
    <p:sldLayoutId id="2147484418" r:id="rId2"/>
    <p:sldLayoutId id="2147484419" r:id="rId3"/>
    <p:sldLayoutId id="2147484420" r:id="rId4"/>
    <p:sldLayoutId id="2147484421" r:id="rId5"/>
    <p:sldLayoutId id="2147484422" r:id="rId6"/>
    <p:sldLayoutId id="2147484423" r:id="rId7"/>
    <p:sldLayoutId id="2147484424" r:id="rId8"/>
    <p:sldLayoutId id="2147484425" r:id="rId9"/>
    <p:sldLayoutId id="2147484426" r:id="rId10"/>
    <p:sldLayoutId id="2147484427" r:id="rId11"/>
    <p:sldLayoutId id="2147484428" r:id="rId12"/>
    <p:sldLayoutId id="2147484429" r:id="rId13"/>
    <p:sldLayoutId id="2147484430" r:id="rId14"/>
    <p:sldLayoutId id="2147484431" r:id="rId15"/>
    <p:sldLayoutId id="2147484432" r:id="rId16"/>
    <p:sldLayoutId id="2147484433" r:id="rId17"/>
    <p:sldLayoutId id="2147484434" r:id="rId18"/>
    <p:sldLayoutId id="2147484435" r:id="rId19"/>
    <p:sldLayoutId id="2147484437" r:id="rId20"/>
    <p:sldLayoutId id="2147484438" r:id="rId2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E533CE-603E-42CB-A939-CFBC18AE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60914083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53" imgH="353" progId="TCLayout.ActiveDocument.1">
                  <p:embed/>
                </p:oleObj>
              </mc:Choice>
              <mc:Fallback>
                <p:oleObj name="think-cell Slide" r:id="rId2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E533CE-603E-42CB-A939-CFBC18AE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8B39C-B5CA-4A79-93AD-945AC6B0EAE3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US" sz="2400">
              <a:solidFill>
                <a:prstClr val="black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prstClr val="black"/>
              </a:solidFill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mtClean="0">
                <a:solidFill>
                  <a:srgbClr val="003349"/>
                </a:solidFill>
              </a:rPr>
              <a:pPr/>
              <a:t>‹#›</a:t>
            </a:fld>
            <a:endParaRPr lang="en-GB">
              <a:solidFill>
                <a:srgbClr val="003349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prstClr val="black"/>
              </a:solidFill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3777466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0" r:id="rId1"/>
    <p:sldLayoutId id="2147484441" r:id="rId2"/>
    <p:sldLayoutId id="2147484442" r:id="rId3"/>
    <p:sldLayoutId id="2147484443" r:id="rId4"/>
    <p:sldLayoutId id="2147484444" r:id="rId5"/>
    <p:sldLayoutId id="2147484445" r:id="rId6"/>
    <p:sldLayoutId id="2147484446" r:id="rId7"/>
    <p:sldLayoutId id="2147484447" r:id="rId8"/>
    <p:sldLayoutId id="2147484448" r:id="rId9"/>
    <p:sldLayoutId id="2147484449" r:id="rId10"/>
    <p:sldLayoutId id="2147484450" r:id="rId11"/>
    <p:sldLayoutId id="2147484451" r:id="rId12"/>
    <p:sldLayoutId id="2147484452" r:id="rId13"/>
    <p:sldLayoutId id="2147484453" r:id="rId14"/>
    <p:sldLayoutId id="2147484454" r:id="rId15"/>
    <p:sldLayoutId id="2147484455" r:id="rId16"/>
    <p:sldLayoutId id="2147484456" r:id="rId17"/>
    <p:sldLayoutId id="2147484457" r:id="rId18"/>
    <p:sldLayoutId id="2147484458" r:id="rId19"/>
    <p:sldLayoutId id="2147484459" r:id="rId2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Platshållare för rubrik 1">
            <a:extLst>
              <a:ext uri="{FF2B5EF4-FFF2-40B4-BE49-F238E27FC236}">
                <a16:creationId xmlns:a16="http://schemas.microsoft.com/office/drawing/2014/main" id="{0817A691-9F93-4853-92F7-475B03F1096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5167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</a:t>
            </a:r>
          </a:p>
        </p:txBody>
      </p:sp>
      <p:sp>
        <p:nvSpPr>
          <p:cNvPr id="2051" name="Platshållare för text 2">
            <a:extLst>
              <a:ext uri="{FF2B5EF4-FFF2-40B4-BE49-F238E27FC236}">
                <a16:creationId xmlns:a16="http://schemas.microsoft.com/office/drawing/2014/main" id="{91B2414F-C3D0-4821-A209-73EC1E21E0D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0"/>
            <a:ext cx="10972800" cy="4421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 på bakgrundstexten</a:t>
            </a:r>
          </a:p>
          <a:p>
            <a:pPr lvl="1"/>
            <a:r>
              <a:rPr lang="sv-SE" altLang="sv-SE"/>
              <a:t>Nivå två</a:t>
            </a:r>
          </a:p>
          <a:p>
            <a:pPr lvl="2"/>
            <a:r>
              <a:rPr lang="sv-SE" altLang="sv-SE"/>
              <a:t>Nivå tre</a:t>
            </a:r>
          </a:p>
          <a:p>
            <a:pPr lvl="3"/>
            <a:r>
              <a:rPr lang="sv-SE" altLang="sv-SE"/>
              <a:t>Nivå fyra</a:t>
            </a:r>
          </a:p>
          <a:p>
            <a:pPr lvl="4"/>
            <a:r>
              <a:rPr lang="sv-SE" alt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34329D0-5BA6-4241-A70E-4418638430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84167" y="6326718"/>
            <a:ext cx="1536700" cy="36618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E818158-D35E-47BF-A482-9CE8E3845820}" type="datetimeFigureOut">
              <a:rPr lang="sv-SE" altLang="sv-SE"/>
              <a:pPr>
                <a:defRPr/>
              </a:pPr>
              <a:t>2025-09-17</a:t>
            </a:fld>
            <a:endParaRPr lang="sv-SE" alt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8FFAF4E-6628-48F4-A2DF-714016755B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484" y="6356351"/>
            <a:ext cx="5664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F9C3A1E-5F31-483E-8112-2CC850103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4418" y="6356351"/>
            <a:ext cx="1581149" cy="36618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E1A86DC-B058-49BA-912C-280A56209C4C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3888859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</p:sldLayoutIdLst>
  <p:txStyles>
    <p:titleStyle>
      <a:lvl1pPr algn="l" defTabSz="609585" rtl="0" eaLnBrk="0" fontAlgn="base" hangingPunct="0">
        <a:spcBef>
          <a:spcPct val="0"/>
        </a:spcBef>
        <a:spcAft>
          <a:spcPct val="0"/>
        </a:spcAft>
        <a:defRPr sz="4267" b="1" kern="1200">
          <a:solidFill>
            <a:schemeClr val="tx1"/>
          </a:solidFill>
          <a:latin typeface="+mj-lt"/>
          <a:ea typeface="MS PGothic" panose="020B0600070205080204" pitchFamily="34" charset="-128"/>
          <a:cs typeface="Arial"/>
        </a:defRPr>
      </a:lvl1pPr>
      <a:lvl2pPr algn="l" defTabSz="609585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MS PGothic" panose="020B0600070205080204" pitchFamily="34" charset="-128"/>
          <a:cs typeface="Arial" panose="020B0604020202020204" pitchFamily="34" charset="0"/>
        </a:defRPr>
      </a:lvl2pPr>
      <a:lvl3pPr algn="l" defTabSz="609585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MS PGothic" panose="020B0600070205080204" pitchFamily="34" charset="-128"/>
          <a:cs typeface="Arial" panose="020B0604020202020204" pitchFamily="34" charset="0"/>
        </a:defRPr>
      </a:lvl3pPr>
      <a:lvl4pPr algn="l" defTabSz="609585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MS PGothic" panose="020B0600070205080204" pitchFamily="34" charset="-128"/>
          <a:cs typeface="Arial" panose="020B0604020202020204" pitchFamily="34" charset="0"/>
        </a:defRPr>
      </a:lvl4pPr>
      <a:lvl5pPr algn="l" defTabSz="609585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MS PGothic" panose="020B0600070205080204" pitchFamily="34" charset="-128"/>
          <a:cs typeface="Arial" panose="020B0604020202020204" pitchFamily="34" charset="0"/>
        </a:defRPr>
      </a:lvl5pPr>
      <a:lvl6pPr marL="609585" algn="l" defTabSz="609585" rtl="0" fontAlgn="base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ＭＳ Ｐゴシック" charset="0"/>
        </a:defRPr>
      </a:lvl6pPr>
      <a:lvl7pPr marL="1219170" algn="l" defTabSz="609585" rtl="0" fontAlgn="base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ＭＳ Ｐゴシック" charset="0"/>
        </a:defRPr>
      </a:lvl7pPr>
      <a:lvl8pPr marL="1828754" algn="l" defTabSz="609585" rtl="0" fontAlgn="base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ＭＳ Ｐゴシック" charset="0"/>
        </a:defRPr>
      </a:lvl8pPr>
      <a:lvl9pPr marL="2438339" algn="l" defTabSz="609585" rtl="0" fontAlgn="base">
        <a:spcBef>
          <a:spcPct val="0"/>
        </a:spcBef>
        <a:spcAft>
          <a:spcPct val="0"/>
        </a:spcAft>
        <a:defRPr sz="4267" b="1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defRPr sz="4267" kern="1200">
          <a:solidFill>
            <a:schemeClr val="tx1"/>
          </a:solidFill>
          <a:latin typeface="+mn-lt"/>
          <a:ea typeface="MS PGothic" panose="020B0600070205080204" pitchFamily="34" charset="-128"/>
          <a:cs typeface="Arial"/>
        </a:defRPr>
      </a:lvl1pPr>
      <a:lvl2pPr marL="609585" algn="l" defTabSz="609585" rtl="0" eaLnBrk="0" fontAlgn="base" hangingPunct="0">
        <a:spcBef>
          <a:spcPct val="20000"/>
        </a:spcBef>
        <a:spcAft>
          <a:spcPct val="0"/>
        </a:spcAft>
        <a:defRPr sz="3733" kern="1200">
          <a:solidFill>
            <a:schemeClr val="tx1"/>
          </a:solidFill>
          <a:latin typeface="+mn-lt"/>
          <a:ea typeface="MS PGothic" panose="020B0600070205080204" pitchFamily="34" charset="-128"/>
          <a:cs typeface="Arial"/>
        </a:defRPr>
      </a:lvl2pPr>
      <a:lvl3pPr marL="1219170" algn="l" defTabSz="609585" rtl="0" eaLnBrk="0" fontAlgn="base" hangingPunct="0">
        <a:spcBef>
          <a:spcPct val="20000"/>
        </a:spcBef>
        <a:spcAft>
          <a:spcPct val="0"/>
        </a:spcAft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Arial"/>
        </a:defRPr>
      </a:lvl3pPr>
      <a:lvl4pPr marL="1828754" algn="l" defTabSz="609585" rtl="0" eaLnBrk="0" fontAlgn="base" hangingPunct="0">
        <a:spcBef>
          <a:spcPct val="20000"/>
        </a:spcBef>
        <a:spcAft>
          <a:spcPct val="0"/>
        </a:spcAft>
        <a:defRPr sz="2667" kern="1200">
          <a:solidFill>
            <a:schemeClr val="tx1"/>
          </a:solidFill>
          <a:latin typeface="+mn-lt"/>
          <a:ea typeface="MS PGothic" panose="020B0600070205080204" pitchFamily="34" charset="-128"/>
          <a:cs typeface="Arial"/>
        </a:defRPr>
      </a:lvl4pPr>
      <a:lvl5pPr marL="2438339" algn="l" defTabSz="609585" rtl="0" eaLnBrk="0" fontAlgn="base" hangingPunct="0">
        <a:spcBef>
          <a:spcPct val="20000"/>
        </a:spcBef>
        <a:spcAft>
          <a:spcPct val="0"/>
        </a:spcAft>
        <a:defRPr sz="2667" kern="1200">
          <a:solidFill>
            <a:schemeClr val="tx1"/>
          </a:solidFill>
          <a:latin typeface="+mn-lt"/>
          <a:ea typeface="MS PGothic" panose="020B0600070205080204" pitchFamily="34" charset="-128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E533CE-603E-42CB-A939-CFBC18AE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5306323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E533CE-603E-42CB-A939-CFBC18AE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8B39C-B5CA-4A79-93AD-945AC6B0EAE3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110523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6" r:id="rId6"/>
    <p:sldLayoutId id="2147484467" r:id="rId7"/>
    <p:sldLayoutId id="2147484468" r:id="rId8"/>
    <p:sldLayoutId id="2147484469" r:id="rId9"/>
    <p:sldLayoutId id="2147484470" r:id="rId10"/>
    <p:sldLayoutId id="2147484471" r:id="rId11"/>
    <p:sldLayoutId id="2147484472" r:id="rId12"/>
    <p:sldLayoutId id="2147484473" r:id="rId13"/>
    <p:sldLayoutId id="2147484474" r:id="rId14"/>
    <p:sldLayoutId id="2147484475" r:id="rId15"/>
    <p:sldLayoutId id="2147484476" r:id="rId16"/>
    <p:sldLayoutId id="2147484477" r:id="rId17"/>
    <p:sldLayoutId id="2147484478" r:id="rId18"/>
    <p:sldLayoutId id="2147484479" r:id="rId19"/>
    <p:sldLayoutId id="2147484482" r:id="rId20"/>
    <p:sldLayoutId id="2147484483" r:id="rId2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326" y="1796495"/>
            <a:ext cx="11181692" cy="460867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First bullets</a:t>
            </a:r>
          </a:p>
          <a:p>
            <a:pPr lvl="2"/>
            <a:r>
              <a:rPr lang="en-GB" noProof="0"/>
              <a:t>Second bullets</a:t>
            </a:r>
          </a:p>
          <a:p>
            <a:pPr lvl="3"/>
            <a:r>
              <a:rPr lang="en-GB" noProof="0"/>
              <a:t>Third bullets</a:t>
            </a:r>
          </a:p>
          <a:p>
            <a:pPr lvl="4"/>
            <a:r>
              <a:rPr lang="en-GB" noProof="0"/>
              <a:t>Fourth bullets</a:t>
            </a:r>
          </a:p>
          <a:p>
            <a:pPr lvl="5"/>
            <a:r>
              <a:rPr lang="en-GB" noProof="0"/>
              <a:t>Fifth bullets</a:t>
            </a:r>
          </a:p>
          <a:p>
            <a:pPr lvl="6"/>
            <a:r>
              <a:rPr lang="en-GB" noProof="0"/>
              <a:t>Sixth bullets</a:t>
            </a:r>
          </a:p>
          <a:p>
            <a:pPr lvl="7"/>
            <a:r>
              <a:rPr lang="en-GB" noProof="0"/>
              <a:t>Seventh bullets</a:t>
            </a:r>
          </a:p>
          <a:p>
            <a:pPr lvl="8"/>
            <a:r>
              <a:rPr lang="en-GB" noProof="0"/>
              <a:t>Eighth bullets</a:t>
            </a:r>
          </a:p>
        </p:txBody>
      </p:sp>
      <p:sp>
        <p:nvSpPr>
          <p:cNvPr id="12" name="Title Placeholder 10">
            <a:extLst>
              <a:ext uri="{FF2B5EF4-FFF2-40B4-BE49-F238E27FC236}">
                <a16:creationId xmlns:a16="http://schemas.microsoft.com/office/drawing/2014/main" id="{AA4802D7-EBFB-0543-BCD6-2989FC41D5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18" y="1077464"/>
            <a:ext cx="11182958" cy="43125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algn="l"/>
            <a:r>
              <a:rPr lang="en-GB" noProof="0"/>
              <a:t>Click to add heading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4DC80B2D-4065-F54F-A055-698FF29D7A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80317" y="6556734"/>
            <a:ext cx="624199" cy="13621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0581" indent="0" algn="l">
              <a:tabLst/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YYYY.MM.DD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9A46E7C-4D93-8048-B013-2132B26488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41098" y="6554412"/>
            <a:ext cx="4462352" cy="13853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Presentation title, Name, Security class: Proprietary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D7E79AC-554E-7347-92F7-599B02B6CE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2068" y="6556734"/>
            <a:ext cx="481208" cy="136217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666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1330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6" r:id="rId1"/>
    <p:sldLayoutId id="2147484487" r:id="rId2"/>
    <p:sldLayoutId id="2147484488" r:id="rId3"/>
    <p:sldLayoutId id="2147484489" r:id="rId4"/>
    <p:sldLayoutId id="2147484490" r:id="rId5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199" b="0" i="0" kern="1200">
          <a:solidFill>
            <a:schemeClr val="bg1"/>
          </a:solidFill>
          <a:latin typeface="Volvo Novum" panose="020B0503040502060204" pitchFamily="34" charset="77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Arial" panose="020B0604020202020204" pitchFamily="34" charset="0"/>
        <a:buNone/>
        <a:tabLst/>
        <a:defRPr sz="1599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1pPr>
      <a:lvl2pPr marL="167996" indent="-167996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Arial" panose="020B0604020202020204" pitchFamily="34" charset="0"/>
        <a:buChar char="•"/>
        <a:tabLst/>
        <a:defRPr sz="1599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2pPr>
      <a:lvl3pPr marL="179859" indent="137539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Arial" panose="020B0604020202020204" pitchFamily="34" charset="0"/>
        <a:buChar char="•"/>
        <a:tabLst/>
        <a:defRPr sz="1333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3pPr>
      <a:lvl4pPr marL="330093" indent="110031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4pPr>
      <a:lvl5pPr marL="440124" indent="110031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Arial" panose="020B0604020202020204" pitchFamily="34" charset="0"/>
        <a:buChar char="•"/>
        <a:tabLst/>
        <a:defRPr sz="1066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5pPr>
      <a:lvl6pPr marL="558618" indent="93103" algn="l" defTabSz="818379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Arial" panose="020B0604020202020204" pitchFamily="34" charset="0"/>
        <a:buChar char="•"/>
        <a:tabLst/>
        <a:defRPr sz="933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6pPr>
      <a:lvl7pPr marL="556619" indent="9117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Arial" panose="020B0604020202020204" pitchFamily="34" charset="0"/>
        <a:buChar char="•"/>
        <a:defRPr sz="933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7pPr>
      <a:lvl8pPr marL="556619" indent="9117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Arial" panose="020B0604020202020204" pitchFamily="34" charset="0"/>
        <a:buChar char="•"/>
        <a:defRPr sz="933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8pPr>
      <a:lvl9pPr marL="556619" indent="9117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80000"/>
        <a:buFont typeface="Arial" panose="020B0604020202020204" pitchFamily="34" charset="0"/>
        <a:buChar char="•"/>
        <a:defRPr sz="933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3" algn="l" defTabSz="91437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2" algn="l" defTabSz="91437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8" algn="l" defTabSz="91437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7">
          <p15:clr>
            <a:srgbClr val="F26B43"/>
          </p15:clr>
        </p15:guide>
        <p15:guide id="3" orient="horz" pos="3027">
          <p15:clr>
            <a:srgbClr val="F26B43"/>
          </p15:clr>
        </p15:guide>
        <p15:guide id="4" pos="5512">
          <p15:clr>
            <a:srgbClr val="F26B43"/>
          </p15:clr>
        </p15:guide>
        <p15:guide id="5" orient="horz" pos="1235">
          <p15:clr>
            <a:srgbClr val="A4A3A4"/>
          </p15:clr>
        </p15:guide>
        <p15:guide id="6" pos="522">
          <p15:clr>
            <a:srgbClr val="A4A3A4"/>
          </p15:clr>
        </p15:guide>
        <p15:guide id="7" pos="681">
          <p15:clr>
            <a:srgbClr val="A4A3A4"/>
          </p15:clr>
        </p15:guide>
        <p15:guide id="8" pos="976">
          <p15:clr>
            <a:srgbClr val="A4A3A4"/>
          </p15:clr>
        </p15:guide>
        <p15:guide id="9" pos="1135">
          <p15:clr>
            <a:srgbClr val="A4A3A4"/>
          </p15:clr>
        </p15:guide>
        <p15:guide id="10" pos="1430">
          <p15:clr>
            <a:srgbClr val="A4A3A4"/>
          </p15:clr>
        </p15:guide>
        <p15:guide id="11" pos="1588">
          <p15:clr>
            <a:srgbClr val="A4A3A4"/>
          </p15:clr>
        </p15:guide>
        <p15:guide id="12" pos="1883">
          <p15:clr>
            <a:srgbClr val="A4A3A4"/>
          </p15:clr>
        </p15:guide>
        <p15:guide id="13" pos="2042">
          <p15:clr>
            <a:srgbClr val="A4A3A4"/>
          </p15:clr>
        </p15:guide>
        <p15:guide id="14" pos="2337">
          <p15:clr>
            <a:srgbClr val="A4A3A4"/>
          </p15:clr>
        </p15:guide>
        <p15:guide id="15" pos="2495">
          <p15:clr>
            <a:srgbClr val="A4A3A4"/>
          </p15:clr>
        </p15:guide>
        <p15:guide id="16" pos="2790">
          <p15:clr>
            <a:srgbClr val="5ACBF0"/>
          </p15:clr>
        </p15:guide>
        <p15:guide id="17" pos="2949">
          <p15:clr>
            <a:srgbClr val="5ACBF0"/>
          </p15:clr>
        </p15:guide>
        <p15:guide id="18" pos="3244">
          <p15:clr>
            <a:srgbClr val="A4A3A4"/>
          </p15:clr>
        </p15:guide>
        <p15:guide id="19" pos="3403">
          <p15:clr>
            <a:srgbClr val="A4A3A4"/>
          </p15:clr>
        </p15:guide>
        <p15:guide id="20" pos="3697">
          <p15:clr>
            <a:srgbClr val="A4A3A4"/>
          </p15:clr>
        </p15:guide>
        <p15:guide id="21" pos="3856">
          <p15:clr>
            <a:srgbClr val="A4A3A4"/>
          </p15:clr>
        </p15:guide>
        <p15:guide id="22" pos="4151">
          <p15:clr>
            <a:srgbClr val="A4A3A4"/>
          </p15:clr>
        </p15:guide>
        <p15:guide id="23" pos="4310">
          <p15:clr>
            <a:srgbClr val="A4A3A4"/>
          </p15:clr>
        </p15:guide>
        <p15:guide id="24" pos="4605">
          <p15:clr>
            <a:srgbClr val="A4A3A4"/>
          </p15:clr>
        </p15:guide>
        <p15:guide id="25" pos="4763">
          <p15:clr>
            <a:srgbClr val="A4A3A4"/>
          </p15:clr>
        </p15:guide>
        <p15:guide id="26" pos="5058">
          <p15:clr>
            <a:srgbClr val="A4A3A4"/>
          </p15:clr>
        </p15:guide>
        <p15:guide id="27" pos="5217">
          <p15:clr>
            <a:srgbClr val="A4A3A4"/>
          </p15:clr>
        </p15:guide>
        <p15:guide id="28" orient="horz" pos="1099">
          <p15:clr>
            <a:srgbClr val="A4A3A4"/>
          </p15:clr>
        </p15:guide>
        <p15:guide id="29" orient="horz" pos="1484">
          <p15:clr>
            <a:srgbClr val="A4A3A4"/>
          </p15:clr>
        </p15:guide>
        <p15:guide id="30" orient="horz" pos="1621">
          <p15:clr>
            <a:srgbClr val="A4A3A4"/>
          </p15:clr>
        </p15:guide>
        <p15:guide id="31" orient="horz" pos="1870">
          <p15:clr>
            <a:srgbClr val="5ACBF0"/>
          </p15:clr>
        </p15:guide>
        <p15:guide id="32" orient="horz" pos="2006">
          <p15:clr>
            <a:srgbClr val="5ACBF0"/>
          </p15:clr>
        </p15:guide>
        <p15:guide id="33" orient="horz" pos="2256">
          <p15:clr>
            <a:srgbClr val="A4A3A4"/>
          </p15:clr>
        </p15:guide>
        <p15:guide id="34" orient="horz" pos="2392">
          <p15:clr>
            <a:srgbClr val="A4A3A4"/>
          </p15:clr>
        </p15:guide>
        <p15:guide id="35" orient="horz" pos="2641">
          <p15:clr>
            <a:srgbClr val="A4A3A4"/>
          </p15:clr>
        </p15:guide>
        <p15:guide id="36" orient="horz" pos="2777">
          <p15:clr>
            <a:srgbClr val="A4A3A4"/>
          </p15:clr>
        </p15:guide>
        <p15:guide id="37" orient="horz" pos="849">
          <p15:clr>
            <a:srgbClr val="F26B43"/>
          </p15:clr>
        </p15:guide>
        <p15:guide id="38" orient="horz" pos="713">
          <p15:clr>
            <a:srgbClr val="A4A3A4"/>
          </p15:clr>
        </p15:guide>
        <p15:guide id="39" orient="horz" pos="3163">
          <p15:clr>
            <a:srgbClr val="A4A3A4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848FF2D5-DA32-164A-9CEF-0545A6DE5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65125"/>
            <a:ext cx="102965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lägga till tex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3C78B44-F05F-C345-B0FE-5531FEF90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47738" y="1825625"/>
            <a:ext cx="102965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lägga till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6" name="Bildobjekt 7">
            <a:extLst>
              <a:ext uri="{FF2B5EF4-FFF2-40B4-BE49-F238E27FC236}">
                <a16:creationId xmlns:a16="http://schemas.microsoft.com/office/drawing/2014/main" id="{7298697B-191F-8E40-A871-38F3D1A230A9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646828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4" r:id="rId1"/>
    <p:sldLayoutId id="2147484585" r:id="rId2"/>
    <p:sldLayoutId id="2147484586" r:id="rId3"/>
    <p:sldLayoutId id="2147484587" r:id="rId4"/>
    <p:sldLayoutId id="2147484588" r:id="rId5"/>
    <p:sldLayoutId id="2147484589" r:id="rId6"/>
    <p:sldLayoutId id="2147484590" r:id="rId7"/>
    <p:sldLayoutId id="2147484591" r:id="rId8"/>
    <p:sldLayoutId id="2147484592" r:id="rId9"/>
    <p:sldLayoutId id="2147484593" r:id="rId10"/>
    <p:sldLayoutId id="2147484594" r:id="rId11"/>
    <p:sldLayoutId id="2147484595" r:id="rId12"/>
    <p:sldLayoutId id="2147484596" r:id="rId13"/>
    <p:sldLayoutId id="2147484597" r:id="rId14"/>
    <p:sldLayoutId id="2147484598" r:id="rId15"/>
    <p:sldLayoutId id="2147484599" r:id="rId16"/>
    <p:sldLayoutId id="2147484600" r:id="rId17"/>
    <p:sldLayoutId id="2147484601" r:id="rId18"/>
    <p:sldLayoutId id="2147484602" r:id="rId19"/>
    <p:sldLayoutId id="2147484603" r:id="rId20"/>
    <p:sldLayoutId id="2147484604" r:id="rId21"/>
    <p:sldLayoutId id="2147484605" r:id="rId22"/>
    <p:sldLayoutId id="2147484606" r:id="rId23"/>
    <p:sldLayoutId id="2147484607" r:id="rId24"/>
    <p:sldLayoutId id="2147484608" r:id="rId25"/>
    <p:sldLayoutId id="2147484609" r:id="rId26"/>
    <p:sldLayoutId id="2147484611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083">
          <p15:clr>
            <a:srgbClr val="F26B43"/>
          </p15:clr>
        </p15:guide>
        <p15:guide id="4" pos="597">
          <p15:clr>
            <a:srgbClr val="F26B43"/>
          </p15:clr>
        </p15:guide>
        <p15:guide id="5" pos="370">
          <p15:clr>
            <a:srgbClr val="F26B43"/>
          </p15:clr>
        </p15:guide>
        <p15:guide id="6" pos="7310">
          <p15:clr>
            <a:srgbClr val="F26B43"/>
          </p15:clr>
        </p15:guide>
        <p15:guide id="7" pos="3727">
          <p15:clr>
            <a:srgbClr val="F26B43"/>
          </p15:clr>
        </p15:guide>
        <p15:guide id="8" pos="3953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100537-B899-C68F-F479-ACC48F630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12756"/>
            <a:ext cx="4841240" cy="15418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D17F44-3856-479D-AEF8-EDC625D7F0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4554616"/>
            <a:ext cx="10515600" cy="16223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2656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3" r:id="rId1"/>
    <p:sldLayoutId id="2147484614" r:id="rId2"/>
    <p:sldLayoutId id="2147484615" r:id="rId3"/>
    <p:sldLayoutId id="2147484616" r:id="rId4"/>
    <p:sldLayoutId id="2147484617" r:id="rId5"/>
    <p:sldLayoutId id="2147484618" r:id="rId6"/>
    <p:sldLayoutId id="2147484619" r:id="rId7"/>
    <p:sldLayoutId id="2147484620" r:id="rId8"/>
    <p:sldLayoutId id="2147484621" r:id="rId9"/>
    <p:sldLayoutId id="2147484622" r:id="rId10"/>
    <p:sldLayoutId id="2147484623" r:id="rId11"/>
    <p:sldLayoutId id="2147484624" r:id="rId12"/>
    <p:sldLayoutId id="2147484625" r:id="rId13"/>
    <p:sldLayoutId id="2147484626" r:id="rId14"/>
    <p:sldLayoutId id="2147484627" r:id="rId15"/>
    <p:sldLayoutId id="2147484628" r:id="rId16"/>
    <p:sldLayoutId id="2147484629" r:id="rId17"/>
    <p:sldLayoutId id="2147484630" r:id="rId18"/>
    <p:sldLayoutId id="2147484631" r:id="rId19"/>
    <p:sldLayoutId id="2147484632" r:id="rId20"/>
    <p:sldLayoutId id="2147484633" r:id="rId21"/>
    <p:sldLayoutId id="2147484634" r:id="rId22"/>
    <p:sldLayoutId id="2147484635" r:id="rId23"/>
    <p:sldLayoutId id="2147484636" r:id="rId24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Roboto Slab" pitchFamily="2" charset="0"/>
          <a:ea typeface="Roboto Slab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0CF0F5-45FB-43B8-E56E-0864F4A72A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747138-F893-FA78-0F71-49A8322A4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F47034-A2FA-CED2-A724-C8F493C766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617A89-D367-470C-B478-43B0C1291096}" type="datetimeFigureOut">
              <a:rPr lang="en-SE" smtClean="0"/>
              <a:t>09/17/2025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1C768F-A2EB-44BA-8B64-42129BCB21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49AE18-9AEA-1666-1CD7-7EFF70E9E3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A35CB6-DF0F-45C3-9C49-3A8D33269F4F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28023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9" r:id="rId1"/>
    <p:sldLayoutId id="2147484650" r:id="rId2"/>
    <p:sldLayoutId id="2147484651" r:id="rId3"/>
    <p:sldLayoutId id="2147484652" r:id="rId4"/>
    <p:sldLayoutId id="2147484653" r:id="rId5"/>
    <p:sldLayoutId id="2147484654" r:id="rId6"/>
    <p:sldLayoutId id="2147484655" r:id="rId7"/>
    <p:sldLayoutId id="2147484656" r:id="rId8"/>
    <p:sldLayoutId id="2147484657" r:id="rId9"/>
    <p:sldLayoutId id="2147484658" r:id="rId10"/>
    <p:sldLayoutId id="2147484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848FF2D5-DA32-164A-9CEF-0545A6DE5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65125"/>
            <a:ext cx="102965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lägga till tex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3C78B44-F05F-C345-B0FE-5531FEF90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47738" y="1825625"/>
            <a:ext cx="102965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6" name="Bildobjekt 7">
            <a:extLst>
              <a:ext uri="{FF2B5EF4-FFF2-40B4-BE49-F238E27FC236}">
                <a16:creationId xmlns:a16="http://schemas.microsoft.com/office/drawing/2014/main" id="{7298697B-191F-8E40-A871-38F3D1A230A9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76211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  <p:sldLayoutId id="2147483905" r:id="rId12"/>
    <p:sldLayoutId id="2147483906" r:id="rId13"/>
    <p:sldLayoutId id="2147483907" r:id="rId14"/>
    <p:sldLayoutId id="2147483908" r:id="rId15"/>
    <p:sldLayoutId id="2147483909" r:id="rId16"/>
    <p:sldLayoutId id="2147483910" r:id="rId17"/>
    <p:sldLayoutId id="2147483911" r:id="rId18"/>
    <p:sldLayoutId id="2147483912" r:id="rId19"/>
    <p:sldLayoutId id="2147483913" r:id="rId20"/>
    <p:sldLayoutId id="2147483914" r:id="rId21"/>
    <p:sldLayoutId id="2147483915" r:id="rId22"/>
    <p:sldLayoutId id="2147483916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Roboto Medium" panose="02000000000000000000" pitchFamily="2" charset="0"/>
          <a:ea typeface="Roboto Medium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083">
          <p15:clr>
            <a:srgbClr val="F26B43"/>
          </p15:clr>
        </p15:guide>
        <p15:guide id="4" pos="597">
          <p15:clr>
            <a:srgbClr val="F26B43"/>
          </p15:clr>
        </p15:guide>
        <p15:guide id="5" pos="370">
          <p15:clr>
            <a:srgbClr val="F26B43"/>
          </p15:clr>
        </p15:guide>
        <p15:guide id="6" pos="7310">
          <p15:clr>
            <a:srgbClr val="F26B43"/>
          </p15:clr>
        </p15:guide>
        <p15:guide id="7" pos="3727">
          <p15:clr>
            <a:srgbClr val="F26B43"/>
          </p15:clr>
        </p15:guide>
        <p15:guide id="8" pos="395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848FF2D5-DA32-164A-9CEF-0545A6DE5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65125"/>
            <a:ext cx="102965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lägga till tex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3C78B44-F05F-C345-B0FE-5531FEF90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47738" y="1825625"/>
            <a:ext cx="102965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lägga till 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6" name="Bildobjekt 7">
            <a:extLst>
              <a:ext uri="{FF2B5EF4-FFF2-40B4-BE49-F238E27FC236}">
                <a16:creationId xmlns:a16="http://schemas.microsoft.com/office/drawing/2014/main" id="{7298697B-191F-8E40-A871-38F3D1A230A9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4765" y="6268092"/>
            <a:ext cx="832866" cy="324050"/>
          </a:xfrm>
          <a:prstGeom prst="rect">
            <a:avLst/>
          </a:prstGeom>
          <a:effectLst>
            <a:reflection endPos="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354624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  <p:sldLayoutId id="2147483946" r:id="rId14"/>
    <p:sldLayoutId id="2147483947" r:id="rId15"/>
    <p:sldLayoutId id="2147483948" r:id="rId16"/>
    <p:sldLayoutId id="2147483949" r:id="rId17"/>
    <p:sldLayoutId id="2147483950" r:id="rId18"/>
    <p:sldLayoutId id="2147483951" r:id="rId19"/>
    <p:sldLayoutId id="2147483952" r:id="rId20"/>
    <p:sldLayoutId id="2147483953" r:id="rId21"/>
    <p:sldLayoutId id="2147483954" r:id="rId22"/>
    <p:sldLayoutId id="2147483955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Roboto Medium" panose="02000000000000000000" pitchFamily="2" charset="0"/>
          <a:ea typeface="Roboto Medium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083">
          <p15:clr>
            <a:srgbClr val="F26B43"/>
          </p15:clr>
        </p15:guide>
        <p15:guide id="4" pos="597">
          <p15:clr>
            <a:srgbClr val="F26B43"/>
          </p15:clr>
        </p15:guide>
        <p15:guide id="5" pos="370">
          <p15:clr>
            <a:srgbClr val="F26B43"/>
          </p15:clr>
        </p15:guide>
        <p15:guide id="6" pos="7310">
          <p15:clr>
            <a:srgbClr val="F26B43"/>
          </p15:clr>
        </p15:guide>
        <p15:guide id="7" pos="3727">
          <p15:clr>
            <a:srgbClr val="F26B43"/>
          </p15:clr>
        </p15:guide>
        <p15:guide id="8" pos="395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8F3F2C-5095-46BC-BC6A-E782B8812D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49218528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53" imgH="353" progId="TCLayout.ActiveDocument.1">
                  <p:embed/>
                </p:oleObj>
              </mc:Choice>
              <mc:Fallback>
                <p:oleObj name="think-cell Slide" r:id="rId28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8F3F2C-5095-46BC-BC6A-E782B8812D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1851BE-E605-418F-9574-3E9BD00FDA7D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183F423-6CF7-4C04-BC0B-03D9E41C61FB}"/>
              </a:ext>
            </a:extLst>
          </p:cNvPr>
          <p:cNvSpPr txBox="1"/>
          <p:nvPr userDrawn="1"/>
        </p:nvSpPr>
        <p:spPr>
          <a:xfrm>
            <a:off x="1083578" y="6554787"/>
            <a:ext cx="1096994" cy="14399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>
              <a:defRPr sz="800" b="0">
                <a:solidFill>
                  <a:srgbClr val="212222"/>
                </a:solidFill>
              </a:defRPr>
            </a:lvl1pPr>
          </a:lstStyle>
          <a:p>
            <a:pPr lvl="0"/>
            <a:fld id="{803414E9-85CE-4DF6-9DC1-1FBACD87288A}" type="datetime1">
              <a:rPr lang="sv-SE" sz="600" smtClean="0">
                <a:solidFill>
                  <a:schemeClr val="accent1"/>
                </a:solidFill>
              </a:rPr>
              <a:t>2025-09-17</a:t>
            </a:fld>
            <a:endParaRPr lang="sv-SE" sz="600">
              <a:solidFill>
                <a:schemeClr val="accent1"/>
              </a:solidFill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1677225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3997" r:id="rId15"/>
    <p:sldLayoutId id="2147483998" r:id="rId16"/>
    <p:sldLayoutId id="2147483999" r:id="rId17"/>
    <p:sldLayoutId id="2147484000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E533CE-603E-42CB-A939-CFBC18AE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8722962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E533CE-603E-42CB-A939-CFBC18AE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8B39C-B5CA-4A79-93AD-945AC6B0EAE3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1516700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  <p:sldLayoutId id="2147484021" r:id="rId12"/>
    <p:sldLayoutId id="2147484022" r:id="rId13"/>
    <p:sldLayoutId id="2147484023" r:id="rId14"/>
    <p:sldLayoutId id="2147484024" r:id="rId15"/>
    <p:sldLayoutId id="2147484025" r:id="rId16"/>
    <p:sldLayoutId id="2147484026" r:id="rId17"/>
    <p:sldLayoutId id="2147484027" r:id="rId18"/>
    <p:sldLayoutId id="2147484028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E533CE-603E-42CB-A939-CFBC18AE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67082038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E533CE-603E-42CB-A939-CFBC18AE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8B39C-B5CA-4A79-93AD-945AC6B0EAE3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3743387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  <p:sldLayoutId id="2147484041" r:id="rId12"/>
    <p:sldLayoutId id="2147484042" r:id="rId13"/>
    <p:sldLayoutId id="2147484043" r:id="rId14"/>
    <p:sldLayoutId id="2147484044" r:id="rId15"/>
    <p:sldLayoutId id="2147484045" r:id="rId16"/>
    <p:sldLayoutId id="2147484046" r:id="rId17"/>
    <p:sldLayoutId id="2147484047" r:id="rId18"/>
    <p:sldLayoutId id="2147484048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E533CE-603E-42CB-A939-CFBC18AE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980696531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E533CE-603E-42CB-A939-CFBC18AE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8B39C-B5CA-4A79-93AD-945AC6B0EAE3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1944800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57" r:id="rId8"/>
    <p:sldLayoutId id="2147484058" r:id="rId9"/>
    <p:sldLayoutId id="2147484059" r:id="rId10"/>
    <p:sldLayoutId id="2147484060" r:id="rId11"/>
    <p:sldLayoutId id="2147484061" r:id="rId12"/>
    <p:sldLayoutId id="2147484062" r:id="rId13"/>
    <p:sldLayoutId id="2147484063" r:id="rId14"/>
    <p:sldLayoutId id="2147484064" r:id="rId15"/>
    <p:sldLayoutId id="2147484065" r:id="rId16"/>
    <p:sldLayoutId id="2147484066" r:id="rId17"/>
    <p:sldLayoutId id="2147484067" r:id="rId18"/>
    <p:sldLayoutId id="2147484068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E533CE-603E-42CB-A939-CFBC18AE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50278187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E533CE-603E-42CB-A939-CFBC18AE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8B39C-B5CA-4A79-93AD-945AC6B0EAE3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20000"/>
              </a:spcBef>
              <a:buFont typeface="Arial" charset="0"/>
              <a:buNone/>
            </a:pPr>
            <a:endParaRPr lang="en-US" sz="2400" b="0" i="0" baseline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0A85EF-0374-4573-9450-FC1C9E1C31F6}"/>
              </a:ext>
            </a:extLst>
          </p:cNvPr>
          <p:cNvSpPr/>
          <p:nvPr userDrawn="1"/>
        </p:nvSpPr>
        <p:spPr>
          <a:xfrm>
            <a:off x="0" y="1"/>
            <a:ext cx="12192000" cy="1083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36061" y="302230"/>
            <a:ext cx="11519876" cy="698400"/>
          </a:xfrm>
          <a:prstGeom prst="rect">
            <a:avLst/>
          </a:prstGeom>
        </p:spPr>
        <p:txBody>
          <a:bodyPr vert="horz" lIns="0" tIns="0" rIns="0" bIns="3600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36062" y="1520826"/>
            <a:ext cx="11519877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69AFA9-3B27-4142-9770-320647E1A127}"/>
              </a:ext>
            </a:extLst>
          </p:cNvPr>
          <p:cNvSpPr txBox="1">
            <a:spLocks/>
          </p:cNvSpPr>
          <p:nvPr userDrawn="1"/>
        </p:nvSpPr>
        <p:spPr>
          <a:xfrm>
            <a:off x="336060" y="6554782"/>
            <a:ext cx="88615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kern="1200">
                <a:solidFill>
                  <a:srgbClr val="21222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7C672-8CBA-42C2-AC22-1966929ED951}" type="slidenum">
              <a:rPr lang="en-GB" sz="800" smtClean="0">
                <a:solidFill>
                  <a:schemeClr val="accent1"/>
                </a:solidFill>
              </a:rPr>
              <a:pPr/>
              <a:t>‹#›</a:t>
            </a:fld>
            <a:endParaRPr lang="en-GB" sz="800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056B4-AFD2-4643-BA1A-322CAA978DA6}"/>
              </a:ext>
            </a:extLst>
          </p:cNvPr>
          <p:cNvCxnSpPr>
            <a:cxnSpLocks/>
          </p:cNvCxnSpPr>
          <p:nvPr userDrawn="1"/>
        </p:nvCxnSpPr>
        <p:spPr>
          <a:xfrm>
            <a:off x="336061" y="6395564"/>
            <a:ext cx="11519876" cy="0"/>
          </a:xfrm>
          <a:prstGeom prst="line">
            <a:avLst/>
          </a:prstGeom>
          <a:ln w="9525" cap="flat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E374336A-8474-483E-9C03-064F3867EC56}"/>
              </a:ext>
            </a:extLst>
          </p:cNvPr>
          <p:cNvSpPr/>
          <p:nvPr userDrawn="1"/>
        </p:nvSpPr>
        <p:spPr>
          <a:xfrm>
            <a:off x="745922" y="6599796"/>
            <a:ext cx="66431" cy="53975"/>
          </a:xfrm>
          <a:prstGeom prst="donut">
            <a:avLst>
              <a:gd name="adj" fmla="val 33558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endParaRPr lang="en-GB" sz="1000">
              <a:solidFill>
                <a:schemeClr val="tx1"/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12" name="Bildobjekt 7" descr="Bildobjekt 7">
            <a:extLst>
              <a:ext uri="{FF2B5EF4-FFF2-40B4-BE49-F238E27FC236}">
                <a16:creationId xmlns:a16="http://schemas.microsoft.com/office/drawing/2014/main" id="{63A574BD-63C4-481E-8811-09CB726E018D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0992987" y="6491306"/>
            <a:ext cx="862949" cy="270952"/>
          </a:xfrm>
          <a:prstGeom prst="rect">
            <a:avLst/>
          </a:prstGeom>
          <a:ln w="12700"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1709984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  <p:sldLayoutId id="2147484081" r:id="rId12"/>
    <p:sldLayoutId id="2147484082" r:id="rId13"/>
    <p:sldLayoutId id="2147484083" r:id="rId14"/>
    <p:sldLayoutId id="2147484084" r:id="rId15"/>
    <p:sldLayoutId id="2147484085" r:id="rId16"/>
    <p:sldLayoutId id="2147484086" r:id="rId17"/>
    <p:sldLayoutId id="2147484087" r:id="rId18"/>
    <p:sldLayoutId id="2147484088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48">
          <p15:clr>
            <a:srgbClr val="F26B43"/>
          </p15:clr>
        </p15:guide>
        <p15:guide id="2" pos="3120">
          <p15:clr>
            <a:srgbClr val="F26B43"/>
          </p15:clr>
        </p15:guide>
        <p15:guide id="3" pos="172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3029">
          <p15:clr>
            <a:srgbClr val="F26B43"/>
          </p15:clr>
        </p15:guide>
        <p15:guide id="7" pos="3211">
          <p15:clr>
            <a:srgbClr val="F26B43"/>
          </p15:clr>
        </p15:guide>
        <p15:guide id="8" orient="horz" pos="3816">
          <p15:clr>
            <a:srgbClr val="F26B43"/>
          </p15:clr>
        </p15:guide>
        <p15:guide id="9" orient="horz" pos="7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4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4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4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4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4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CA322-CC65-6E90-2CA2-0BEA1CAA38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6239" y="2043907"/>
            <a:ext cx="9697064" cy="1320189"/>
          </a:xfrm>
        </p:spPr>
        <p:txBody>
          <a:bodyPr/>
          <a:lstStyle/>
          <a:p>
            <a:r>
              <a:rPr lang="sv-SE" b="1" i="0" dirty="0">
                <a:effectLst/>
                <a:latin typeface="open sans" panose="020F0502020204030204" pitchFamily="34" charset="0"/>
              </a:rPr>
              <a:t>Implementera </a:t>
            </a:r>
            <a:r>
              <a:rPr lang="sv-SE" dirty="0" err="1">
                <a:latin typeface="open sans" panose="020F0502020204030204" pitchFamily="34" charset="0"/>
              </a:rPr>
              <a:t>p</a:t>
            </a:r>
            <a:r>
              <a:rPr lang="sv-SE" b="1" i="0" dirty="0" err="1">
                <a:effectLst/>
                <a:latin typeface="open sans" panose="020F0502020204030204" pitchFamily="34" charset="0"/>
              </a:rPr>
              <a:t>asskeys</a:t>
            </a:r>
            <a:r>
              <a:rPr lang="sv-SE" b="1" i="0" dirty="0">
                <a:effectLst/>
                <a:latin typeface="open sans" panose="020F0502020204030204" pitchFamily="34" charset="0"/>
              </a:rPr>
              <a:t> i .NET och </a:t>
            </a:r>
            <a:r>
              <a:rPr lang="sv-SE" b="1" i="0" dirty="0" err="1">
                <a:effectLst/>
                <a:latin typeface="open sans" panose="020F0502020204030204" pitchFamily="34" charset="0"/>
              </a:rPr>
              <a:t>Identity</a:t>
            </a:r>
            <a:r>
              <a:rPr lang="sv-SE" b="1" i="0" dirty="0">
                <a:effectLst/>
                <a:latin typeface="open sans" panose="020F0502020204030204" pitchFamily="34" charset="0"/>
              </a:rPr>
              <a:t> Server</a:t>
            </a:r>
            <a:br>
              <a:rPr lang="sv-SE" b="1" i="0" dirty="0">
                <a:effectLst/>
                <a:latin typeface="open sans" panose="020F0502020204030204" pitchFamily="34" charset="0"/>
              </a:rPr>
            </a:br>
            <a:endParaRPr lang="en-S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B3D9E4-79E0-78B8-2A7C-D5631AA2E9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sv-SE" dirty="0"/>
              <a:t>Daniel Sandberg</a:t>
            </a:r>
          </a:p>
          <a:p>
            <a:pPr marL="0" indent="0" algn="ctr">
              <a:buNone/>
            </a:pPr>
            <a:r>
              <a:rPr lang="sv-SE" dirty="0"/>
              <a:t>Kick Off 2025-10-19</a:t>
            </a:r>
            <a:endParaRPr lang="en-SE" dirty="0"/>
          </a:p>
        </p:txBody>
      </p:sp>
    </p:spTree>
    <p:extLst>
      <p:ext uri="{BB962C8B-B14F-4D97-AF65-F5344CB8AC3E}">
        <p14:creationId xmlns:p14="http://schemas.microsoft.com/office/powerpoint/2010/main" val="16044113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733764B-00FF-B1CD-0334-FC6D888265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096F2D-ABAE-F64A-7389-A0910C0468F1}"/>
              </a:ext>
            </a:extLst>
          </p:cNvPr>
          <p:cNvSpPr txBox="1"/>
          <p:nvPr/>
        </p:nvSpPr>
        <p:spPr>
          <a:xfrm>
            <a:off x="929148" y="1417320"/>
            <a:ext cx="10287000" cy="14208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asskeys		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WebAuthn</a:t>
            </a:r>
            <a:endParaRPr lang="sv-SE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dentityServer</a:t>
            </a:r>
            <a:endParaRPr lang="sv-SE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Kod!</a:t>
            </a:r>
            <a:endParaRPr lang="en-SE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C6821FB-FFDD-6506-FA68-A0FA2AD265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65217" y="626677"/>
            <a:ext cx="9261565" cy="790643"/>
          </a:xfrm>
        </p:spPr>
        <p:txBody>
          <a:bodyPr/>
          <a:lstStyle/>
          <a:p>
            <a:pPr algn="ctr"/>
            <a:r>
              <a:rPr lang="sv-SE" dirty="0"/>
              <a:t>Agenda</a:t>
            </a:r>
            <a:br>
              <a:rPr lang="sv-SE" dirty="0"/>
            </a:br>
            <a:endParaRPr lang="en-SE" dirty="0"/>
          </a:p>
        </p:txBody>
      </p:sp>
    </p:spTree>
    <p:extLst>
      <p:ext uri="{BB962C8B-B14F-4D97-AF65-F5344CB8AC3E}">
        <p14:creationId xmlns:p14="http://schemas.microsoft.com/office/powerpoint/2010/main" val="3096003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5CFC940-D17A-BC39-114C-CC47E85C90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>
            <a:extLst>
              <a:ext uri="{FF2B5EF4-FFF2-40B4-BE49-F238E27FC236}">
                <a16:creationId xmlns:a16="http://schemas.microsoft.com/office/drawing/2014/main" id="{6B859F07-1FBC-6EDA-67A0-8A6B55B58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503040"/>
            <a:ext cx="6035040" cy="1320189"/>
          </a:xfrm>
        </p:spPr>
        <p:txBody>
          <a:bodyPr/>
          <a:lstStyle/>
          <a:p>
            <a:r>
              <a:rPr lang="en-US" dirty="0"/>
              <a:t>Passkeys</a:t>
            </a:r>
            <a:endParaRPr lang="en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2D3C80-2F80-D368-73B9-D198DDBD90C8}"/>
              </a:ext>
            </a:extLst>
          </p:cNvPr>
          <p:cNvSpPr txBox="1"/>
          <p:nvPr/>
        </p:nvSpPr>
        <p:spPr>
          <a:xfrm>
            <a:off x="1273277" y="1089392"/>
            <a:ext cx="9645445" cy="33701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sv-SE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sskey</a:t>
            </a:r>
            <a:r>
              <a:rPr lang="sv-S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 En modern autentiseringsmetod – Ersätter traditionella lösenord med ett unikt par kryptografiska nycklar för säker inloggning. 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hishing</a:t>
            </a:r>
            <a:r>
              <a:rPr lang="sv-SE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resistenta</a:t>
            </a:r>
            <a:r>
              <a:rPr lang="sv-S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Använder kryptografiska nyckelpar istället för lösenord, vilket gör dem omöjliga att stjäla via nätfiske.  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sv-SE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ösenordsfria och enkla</a:t>
            </a:r>
            <a:r>
              <a:rPr lang="sv-S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Användaren loggar in med biometriska data eller en säkerhetsnyckel, utan att behöva komma ihåg lösenord.  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sv-SE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kyddade mot dataläckor</a:t>
            </a:r>
            <a:r>
              <a:rPr lang="sv-S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– Inga centrala lösenordsdatabaser som kan hackas, vilket höjer säkerheten markant.  </a:t>
            </a:r>
          </a:p>
        </p:txBody>
      </p:sp>
    </p:spTree>
    <p:extLst>
      <p:ext uri="{BB962C8B-B14F-4D97-AF65-F5344CB8AC3E}">
        <p14:creationId xmlns:p14="http://schemas.microsoft.com/office/powerpoint/2010/main" val="8972966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EDAD616-D234-8599-80E1-B83361CF3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42B111F-3386-F079-E995-3C79B86C5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503040"/>
            <a:ext cx="6035040" cy="1320189"/>
          </a:xfrm>
        </p:spPr>
        <p:txBody>
          <a:bodyPr/>
          <a:lstStyle/>
          <a:p>
            <a:r>
              <a:rPr lang="en-US" dirty="0" err="1"/>
              <a:t>WebAuthn</a:t>
            </a:r>
            <a:endParaRPr lang="en-S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AF50CD-A447-4644-1DBF-C19F0E7A2CED}"/>
              </a:ext>
            </a:extLst>
          </p:cNvPr>
          <p:cNvSpPr txBox="1"/>
          <p:nvPr/>
        </p:nvSpPr>
        <p:spPr>
          <a:xfrm>
            <a:off x="1273277" y="1089392"/>
            <a:ext cx="9645445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n modern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ebbstandard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för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äkrare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loggning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tvecklad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v W3C (World Wide Web Consortium)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ch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FIDO Alliance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öjliggör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ösenordsfri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utentisering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rsätter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ler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mpletterar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ditionella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ösenord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räver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"Authenticator"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ingeravtrycksläsare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siktsigenkänning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(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.ex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Windows  Hello, Face ID/Touch ID). USB-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äkerhetsnycklar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(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.ex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YubiKey),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biltelefoner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arkt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kydd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mot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ätfiske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(phishing)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utentiseringen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är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unden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till den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ecifika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ebbplatsen</a:t>
            </a:r>
            <a:r>
              <a:rPr lang="en-US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331224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744B9CD-B6D6-EA07-307A-7F4DC6AAD4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2742" y="1823229"/>
            <a:ext cx="3581900" cy="329611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5A077758-76C5-7FA3-6137-573E38E9B9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503040"/>
            <a:ext cx="6035040" cy="1320189"/>
          </a:xfrm>
        </p:spPr>
        <p:txBody>
          <a:bodyPr/>
          <a:lstStyle/>
          <a:p>
            <a:r>
              <a:rPr lang="sv-SE" dirty="0"/>
              <a:t>Registrera </a:t>
            </a:r>
            <a:r>
              <a:rPr lang="sv-SE" dirty="0" err="1"/>
              <a:t>passkey</a:t>
            </a:r>
            <a:endParaRPr lang="en-SE" dirty="0"/>
          </a:p>
        </p:txBody>
      </p:sp>
    </p:spTree>
    <p:extLst>
      <p:ext uri="{BB962C8B-B14F-4D97-AF65-F5344CB8AC3E}">
        <p14:creationId xmlns:p14="http://schemas.microsoft.com/office/powerpoint/2010/main" val="6367639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F9E5C0-3C6E-820C-2CE0-E41153E25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AE6874A-77DF-0FFC-119B-B27497B784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3182" y="1236689"/>
            <a:ext cx="3305636" cy="4616762"/>
          </a:xfrm>
          <a:prstGeom prst="rect">
            <a:avLst/>
          </a:prstGeom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id="{605AFE17-5F01-3ABC-72D6-4CFF389D63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503040"/>
            <a:ext cx="6035040" cy="1320189"/>
          </a:xfrm>
        </p:spPr>
        <p:txBody>
          <a:bodyPr/>
          <a:lstStyle/>
          <a:p>
            <a:r>
              <a:rPr lang="sv-SE" dirty="0"/>
              <a:t>Logga in med </a:t>
            </a:r>
            <a:r>
              <a:rPr lang="sv-SE" dirty="0" err="1"/>
              <a:t>passkey</a:t>
            </a:r>
            <a:endParaRPr lang="en-SE" dirty="0"/>
          </a:p>
        </p:txBody>
      </p:sp>
    </p:spTree>
    <p:extLst>
      <p:ext uri="{BB962C8B-B14F-4D97-AF65-F5344CB8AC3E}">
        <p14:creationId xmlns:p14="http://schemas.microsoft.com/office/powerpoint/2010/main" val="15901775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C7BB062-57E6-04B1-610B-FAC92872B9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C68D1B8-9F31-DFFF-AB17-C3A490B574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503040"/>
            <a:ext cx="6035040" cy="1320189"/>
          </a:xfrm>
        </p:spPr>
        <p:txBody>
          <a:bodyPr/>
          <a:lstStyle/>
          <a:p>
            <a:r>
              <a:rPr lang="sv-SE" dirty="0" err="1"/>
              <a:t>IdentityServer</a:t>
            </a:r>
            <a:r>
              <a:rPr lang="sv-SE" dirty="0"/>
              <a:t>?</a:t>
            </a:r>
            <a:endParaRPr lang="en-SE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89D967-B6FB-D8FF-DB4E-BA8F4E52FB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032" y="1502629"/>
            <a:ext cx="10947228" cy="21185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sv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sv-SE" altLang="en-SE" dirty="0">
                <a:solidFill>
                  <a:schemeClr val="bg1"/>
                </a:solidFill>
                <a:latin typeface="Arial" panose="020B0604020202020204" pitchFamily="34" charset="0"/>
              </a:rPr>
              <a:t>Komplett lösning för autentisering med </a:t>
            </a:r>
            <a:r>
              <a:rPr kumimoji="0" lang="sv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OpenID</a:t>
            </a:r>
            <a:r>
              <a:rPr kumimoji="0" lang="sv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sv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Connect</a:t>
            </a:r>
            <a:r>
              <a:rPr kumimoji="0" lang="sv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och </a:t>
            </a:r>
            <a:r>
              <a:rPr kumimoji="0" lang="sv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Oauth</a:t>
            </a:r>
            <a:r>
              <a:rPr kumimoji="0" lang="sv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2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sv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Full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kontroll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över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UI, UX,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ffärslogik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och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data.</a:t>
            </a:r>
            <a:r>
              <a:rPr kumimoji="0" lang="sv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SE" altLang="en-SE" sz="18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sv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äkerhet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–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töd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för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vancerade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äkerhetsscenarier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om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federering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okenutbyte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och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begränsade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tokens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sv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lattformsoberoende – kan köras på Windows, Linux, </a:t>
            </a:r>
            <a:r>
              <a:rPr kumimoji="0" lang="en-US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Mac, Docker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sv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Licensiering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– gratis för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utveckling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och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estning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men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kräver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licens</a:t>
            </a:r>
            <a:r>
              <a:rPr kumimoji="0" lang="en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för </a:t>
            </a:r>
            <a:r>
              <a:rPr kumimoji="0" lang="en-SE" altLang="en-SE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roduktio</a:t>
            </a:r>
            <a:r>
              <a:rPr kumimoji="0" lang="sv-SE" altLang="en-S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n.</a:t>
            </a:r>
            <a:endParaRPr kumimoji="0" lang="en-SE" altLang="en-SE" sz="18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320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D169AC-3F5E-58EC-9DB6-7D4B07496B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0BC60581-27B7-00EF-36E9-51C5F81227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78480" y="1193323"/>
            <a:ext cx="6035040" cy="1320189"/>
          </a:xfrm>
        </p:spPr>
        <p:txBody>
          <a:bodyPr/>
          <a:lstStyle/>
          <a:p>
            <a:r>
              <a:rPr lang="sv-SE" sz="6000" dirty="0"/>
              <a:t>Kod!</a:t>
            </a:r>
            <a:endParaRPr lang="en-SE" sz="6000" dirty="0"/>
          </a:p>
        </p:txBody>
      </p:sp>
      <p:pic>
        <p:nvPicPr>
          <p:cNvPr id="4" name="Picture 3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4233D050-B534-EEA4-AE7E-1D0B25E0FC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2035" y="2513512"/>
            <a:ext cx="3067929" cy="3067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15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3bgKDSdz7MpFzRqslaL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H21EPUdoKbvw.cPu7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H21EPUdoKbvw.cPu7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H21EPUdoKbvw.cPu7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H21EPUdoKbvw.cPu7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H21EPUdoKbvw.cPu7N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H21EPUdoKbvw.cPu7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H21EPUdoKbvw.cPu7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H21EPUdoKbvw.cPu7N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3bgKDSdz7MpFzRqslaL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H21EPUdoKbvw.cPu7N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H21EPUdoKbvw.cPu7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H21EPUdoKbvw.cPu7NA"/>
</p:tagLst>
</file>

<file path=ppt/theme/theme1.xml><?xml version="1.0" encoding="utf-8"?>
<a:theme xmlns:a="http://schemas.openxmlformats.org/drawingml/2006/main" name="Omegapoint PPT P3.0-4 (Widescreen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- klassiskt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6_Office Theme">
  <a:themeElements>
    <a:clrScheme name="Custom 1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Omegapoint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11.xml><?xml version="1.0" encoding="utf-8"?>
<a:theme xmlns:a="http://schemas.openxmlformats.org/drawingml/2006/main" name="7_Office Theme">
  <a:themeElements>
    <a:clrScheme name="Custom 1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Omegapoint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12.xml><?xml version="1.0" encoding="utf-8"?>
<a:theme xmlns:a="http://schemas.openxmlformats.org/drawingml/2006/main" name="8_Office Theme">
  <a:themeElements>
    <a:clrScheme name="Custom 1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Omegapoint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13.xml><?xml version="1.0" encoding="utf-8"?>
<a:theme xmlns:a="http://schemas.openxmlformats.org/drawingml/2006/main" name="9_Office Theme">
  <a:themeElements>
    <a:clrScheme name="Custom 1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Omegapoint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14.xml><?xml version="1.0" encoding="utf-8"?>
<a:theme xmlns:a="http://schemas.openxmlformats.org/drawingml/2006/main" name="10_Office Theme">
  <a:themeElements>
    <a:clrScheme name="Custom 2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Custom 7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15.xml><?xml version="1.0" encoding="utf-8"?>
<a:theme xmlns:a="http://schemas.openxmlformats.org/drawingml/2006/main" name="2_Omegapoint-theme-alternatives">
  <a:themeElements>
    <a:clrScheme name="">
      <a:dk1>
        <a:srgbClr val="000000"/>
      </a:dk1>
      <a:lt1>
        <a:srgbClr val="FFFFFF"/>
      </a:lt1>
      <a:dk2>
        <a:srgbClr val="383838"/>
      </a:dk2>
      <a:lt2>
        <a:srgbClr val="D7D2CB"/>
      </a:lt2>
      <a:accent1>
        <a:srgbClr val="F9BC2E"/>
      </a:accent1>
      <a:accent2>
        <a:srgbClr val="E87722"/>
      </a:accent2>
      <a:accent3>
        <a:srgbClr val="286166"/>
      </a:accent3>
      <a:accent4>
        <a:srgbClr val="003349"/>
      </a:accent4>
      <a:accent5>
        <a:srgbClr val="383838"/>
      </a:accent5>
      <a:accent6>
        <a:srgbClr val="FFFFFF"/>
      </a:accent6>
      <a:hlink>
        <a:srgbClr val="003349"/>
      </a:hlink>
      <a:folHlink>
        <a:srgbClr val="E87722"/>
      </a:folHlink>
    </a:clrScheme>
    <a:fontScheme name="Roboto">
      <a:majorFont>
        <a:latin typeface="Roboto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Roboto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000000"/>
            </a:solidFill>
            <a:latin typeface="Roboto" panose="02000000000000000000" pitchFamily="2" charset="0"/>
            <a:ea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95F9A018-5FB6-094D-B386-DDB0E8D9A4DA}" vid="{FDB4E886-A7BD-9646-AF32-FDFD70735B32}"/>
    </a:ext>
  </a:extLst>
</a:theme>
</file>

<file path=ppt/theme/theme16.xml><?xml version="1.0" encoding="utf-8"?>
<a:theme xmlns:a="http://schemas.openxmlformats.org/drawingml/2006/main" name="3_Omegapoint-theme-alternatives">
  <a:themeElements>
    <a:clrScheme name="">
      <a:dk1>
        <a:srgbClr val="000000"/>
      </a:dk1>
      <a:lt1>
        <a:srgbClr val="FFFFFF"/>
      </a:lt1>
      <a:dk2>
        <a:srgbClr val="383838"/>
      </a:dk2>
      <a:lt2>
        <a:srgbClr val="D7D2CB"/>
      </a:lt2>
      <a:accent1>
        <a:srgbClr val="F9BC2E"/>
      </a:accent1>
      <a:accent2>
        <a:srgbClr val="E87722"/>
      </a:accent2>
      <a:accent3>
        <a:srgbClr val="286166"/>
      </a:accent3>
      <a:accent4>
        <a:srgbClr val="003349"/>
      </a:accent4>
      <a:accent5>
        <a:srgbClr val="383838"/>
      </a:accent5>
      <a:accent6>
        <a:srgbClr val="FFFFFF"/>
      </a:accent6>
      <a:hlink>
        <a:srgbClr val="003349"/>
      </a:hlink>
      <a:folHlink>
        <a:srgbClr val="E87722"/>
      </a:folHlink>
    </a:clrScheme>
    <a:fontScheme name="Roboto">
      <a:majorFont>
        <a:latin typeface="Roboto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Roboto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000000"/>
            </a:solidFill>
            <a:latin typeface="Roboto" panose="02000000000000000000" pitchFamily="2" charset="0"/>
            <a:ea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1C67D4D8-FF87-004C-BFBF-6FB92BC6E93A}" vid="{515D654E-4ACD-A049-ABBC-F8C11FBB8BEC}"/>
    </a:ext>
  </a:extLst>
</a:theme>
</file>

<file path=ppt/theme/theme17.xml><?xml version="1.0" encoding="utf-8"?>
<a:theme xmlns:a="http://schemas.openxmlformats.org/drawingml/2006/main" name="5_Omegapoint-theme-alternatives">
  <a:themeElements>
    <a:clrScheme name="">
      <a:dk1>
        <a:srgbClr val="000000"/>
      </a:dk1>
      <a:lt1>
        <a:srgbClr val="FFFFFF"/>
      </a:lt1>
      <a:dk2>
        <a:srgbClr val="383838"/>
      </a:dk2>
      <a:lt2>
        <a:srgbClr val="D7D2CB"/>
      </a:lt2>
      <a:accent1>
        <a:srgbClr val="F9BC2E"/>
      </a:accent1>
      <a:accent2>
        <a:srgbClr val="E87722"/>
      </a:accent2>
      <a:accent3>
        <a:srgbClr val="286166"/>
      </a:accent3>
      <a:accent4>
        <a:srgbClr val="003349"/>
      </a:accent4>
      <a:accent5>
        <a:srgbClr val="383838"/>
      </a:accent5>
      <a:accent6>
        <a:srgbClr val="FFFFFF"/>
      </a:accent6>
      <a:hlink>
        <a:srgbClr val="003349"/>
      </a:hlink>
      <a:folHlink>
        <a:srgbClr val="E87722"/>
      </a:folHlink>
    </a:clrScheme>
    <a:fontScheme name="Roboto">
      <a:majorFont>
        <a:latin typeface="Roboto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Roboto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000000"/>
            </a:solidFill>
            <a:latin typeface="Roboto" panose="02000000000000000000" pitchFamily="2" charset="0"/>
            <a:ea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685114D1-9B7F-A545-BDF5-28BA2D3BF420}" vid="{833FE284-4BC2-2142-B2A2-AB7B40AD4C7E}"/>
    </a:ext>
  </a:extLst>
</a:theme>
</file>

<file path=ppt/theme/theme18.xml><?xml version="1.0" encoding="utf-8"?>
<a:theme xmlns:a="http://schemas.openxmlformats.org/drawingml/2006/main" name="11_Office Theme">
  <a:themeElements>
    <a:clrScheme name="Custom 1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Omegapoint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19.xml><?xml version="1.0" encoding="utf-8"?>
<a:theme xmlns:a="http://schemas.openxmlformats.org/drawingml/2006/main" name="12_Office Theme">
  <a:themeElements>
    <a:clrScheme name="Custom 1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Omegapoint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2.xml><?xml version="1.0" encoding="utf-8"?>
<a:theme xmlns:a="http://schemas.openxmlformats.org/drawingml/2006/main" name="1_Omegapoint PPT P3.0-4 (Widescreen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- klassiskt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3_Office Theme">
  <a:themeElements>
    <a:clrScheme name="Custom 1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Omegapoint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21.xml><?xml version="1.0" encoding="utf-8"?>
<a:theme xmlns:a="http://schemas.openxmlformats.org/drawingml/2006/main" name="Volvo Cars (dark theme)">
  <a:themeElements>
    <a:clrScheme name="Volvo colours">
      <a:dk1>
        <a:srgbClr val="000000"/>
      </a:dk1>
      <a:lt1>
        <a:srgbClr val="FFFFFF"/>
      </a:lt1>
      <a:dk2>
        <a:srgbClr val="252A3A"/>
      </a:dk2>
      <a:lt2>
        <a:srgbClr val="3D567E"/>
      </a:lt2>
      <a:accent1>
        <a:srgbClr val="BF834B"/>
      </a:accent1>
      <a:accent2>
        <a:srgbClr val="D9B48B"/>
      </a:accent2>
      <a:accent3>
        <a:srgbClr val="A13432"/>
      </a:accent3>
      <a:accent4>
        <a:srgbClr val="D7A49C"/>
      </a:accent4>
      <a:accent5>
        <a:srgbClr val="68875C"/>
      </a:accent5>
      <a:accent6>
        <a:srgbClr val="A4AE9B"/>
      </a:accent6>
      <a:hlink>
        <a:srgbClr val="8897AF"/>
      </a:hlink>
      <a:folHlink>
        <a:srgbClr val="BFC8D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20000"/>
          </a:lnSpc>
          <a:defRPr sz="1200" dirty="0">
            <a:latin typeface="Volvo Novum Light" panose="020B0303040502060204" pitchFamily="34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7845C39-B04E-EE4A-A5F6-0B03ABA3A322}" vid="{09668F2B-1719-9A46-A6AE-5AFC89FBB5EA}"/>
    </a:ext>
  </a:extLst>
</a:theme>
</file>

<file path=ppt/theme/theme22.xml><?xml version="1.0" encoding="utf-8"?>
<a:theme xmlns:a="http://schemas.openxmlformats.org/drawingml/2006/main" name="4_Omegapoint-theme-alternatives">
  <a:themeElements>
    <a:clrScheme name="">
      <a:dk1>
        <a:srgbClr val="000000"/>
      </a:dk1>
      <a:lt1>
        <a:srgbClr val="FFFFFF"/>
      </a:lt1>
      <a:dk2>
        <a:srgbClr val="383838"/>
      </a:dk2>
      <a:lt2>
        <a:srgbClr val="D7D2CB"/>
      </a:lt2>
      <a:accent1>
        <a:srgbClr val="F9BC2E"/>
      </a:accent1>
      <a:accent2>
        <a:srgbClr val="E87722"/>
      </a:accent2>
      <a:accent3>
        <a:srgbClr val="286166"/>
      </a:accent3>
      <a:accent4>
        <a:srgbClr val="003349"/>
      </a:accent4>
      <a:accent5>
        <a:srgbClr val="383838"/>
      </a:accent5>
      <a:accent6>
        <a:srgbClr val="FFFFFF"/>
      </a:accent6>
      <a:hlink>
        <a:srgbClr val="003349"/>
      </a:hlink>
      <a:folHlink>
        <a:srgbClr val="E87722"/>
      </a:folHlink>
    </a:clrScheme>
    <a:fontScheme name="Roboto">
      <a:majorFont>
        <a:latin typeface="Roboto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Roboto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000000"/>
            </a:solidFill>
            <a:latin typeface="Roboto" panose="02000000000000000000" pitchFamily="2" charset="0"/>
            <a:ea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1C67D4D8-FF87-004C-BFBF-6FB92BC6E93A}" vid="{515D654E-4ACD-A049-ABBC-F8C11FBB8BEC}"/>
    </a:ext>
  </a:extLst>
</a:theme>
</file>

<file path=ppt/theme/theme23.xml><?xml version="1.0" encoding="utf-8"?>
<a:theme xmlns:a="http://schemas.openxmlformats.org/drawingml/2006/main" name="Office-tema">
  <a:themeElements>
    <a:clrScheme name="Omegapoint_col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83838"/>
      </a:accent1>
      <a:accent2>
        <a:srgbClr val="003348"/>
      </a:accent2>
      <a:accent3>
        <a:srgbClr val="286166"/>
      </a:accent3>
      <a:accent4>
        <a:srgbClr val="E87722"/>
      </a:accent4>
      <a:accent5>
        <a:srgbClr val="F9BC2E"/>
      </a:accent5>
      <a:accent6>
        <a:srgbClr val="D7D2CB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>
            <a:latin typeface="Roboto" panose="02000000000000000000" pitchFamily="2" charset="0"/>
            <a:ea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P_mall_no1_gbg_" id="{21D06B42-4449-BE41-9FDB-C8272F50B2D7}" vid="{FE6EACDB-CF11-7548-AFB7-574F8281BA39}"/>
    </a:ext>
  </a:extLst>
</a:theme>
</file>

<file path=ppt/theme/theme2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megapoint-theme-alternatives">
  <a:themeElements>
    <a:clrScheme name="">
      <a:dk1>
        <a:srgbClr val="000000"/>
      </a:dk1>
      <a:lt1>
        <a:srgbClr val="FFFFFF"/>
      </a:lt1>
      <a:dk2>
        <a:srgbClr val="383838"/>
      </a:dk2>
      <a:lt2>
        <a:srgbClr val="D7D2CB"/>
      </a:lt2>
      <a:accent1>
        <a:srgbClr val="F9BC2E"/>
      </a:accent1>
      <a:accent2>
        <a:srgbClr val="E87722"/>
      </a:accent2>
      <a:accent3>
        <a:srgbClr val="286166"/>
      </a:accent3>
      <a:accent4>
        <a:srgbClr val="003349"/>
      </a:accent4>
      <a:accent5>
        <a:srgbClr val="383838"/>
      </a:accent5>
      <a:accent6>
        <a:srgbClr val="FFFFFF"/>
      </a:accent6>
      <a:hlink>
        <a:srgbClr val="003349"/>
      </a:hlink>
      <a:folHlink>
        <a:srgbClr val="E87722"/>
      </a:folHlink>
    </a:clrScheme>
    <a:fontScheme name="Roboto">
      <a:majorFont>
        <a:latin typeface="Roboto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Roboto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000000"/>
            </a:solidFill>
            <a:latin typeface="Roboto" panose="02000000000000000000" pitchFamily="2" charset="0"/>
            <a:ea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_template_v4" id="{0DCB2A29-6E6F-8D44-959B-5FFC4D54169F}" vid="{F2AD87FD-CFC7-ED4F-BC32-93F4C6438447}"/>
    </a:ext>
  </a:extLst>
</a:theme>
</file>

<file path=ppt/theme/theme4.xml><?xml version="1.0" encoding="utf-8"?>
<a:theme xmlns:a="http://schemas.openxmlformats.org/drawingml/2006/main" name="1_Omegapoint-theme-alternatives">
  <a:themeElements>
    <a:clrScheme name="">
      <a:dk1>
        <a:srgbClr val="000000"/>
      </a:dk1>
      <a:lt1>
        <a:srgbClr val="FFFFFF"/>
      </a:lt1>
      <a:dk2>
        <a:srgbClr val="383838"/>
      </a:dk2>
      <a:lt2>
        <a:srgbClr val="D7D2CB"/>
      </a:lt2>
      <a:accent1>
        <a:srgbClr val="F9BC2E"/>
      </a:accent1>
      <a:accent2>
        <a:srgbClr val="E87722"/>
      </a:accent2>
      <a:accent3>
        <a:srgbClr val="286166"/>
      </a:accent3>
      <a:accent4>
        <a:srgbClr val="003349"/>
      </a:accent4>
      <a:accent5>
        <a:srgbClr val="383838"/>
      </a:accent5>
      <a:accent6>
        <a:srgbClr val="FFFFFF"/>
      </a:accent6>
      <a:hlink>
        <a:srgbClr val="003349"/>
      </a:hlink>
      <a:folHlink>
        <a:srgbClr val="E87722"/>
      </a:folHlink>
    </a:clrScheme>
    <a:fontScheme name="Roboto">
      <a:majorFont>
        <a:latin typeface="Roboto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Roboto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000000"/>
            </a:solidFill>
            <a:latin typeface="Roboto" panose="02000000000000000000" pitchFamily="2" charset="0"/>
            <a:ea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7" id="{904B9051-F41D-E846-BC77-7EE90113F720}" vid="{A0B6B0A4-1D99-0744-B2AD-4F17797DDB40}"/>
    </a:ext>
  </a:extLst>
</a:theme>
</file>

<file path=ppt/theme/theme5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Custom 7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6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Omegapoint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7.xml><?xml version="1.0" encoding="utf-8"?>
<a:theme xmlns:a="http://schemas.openxmlformats.org/drawingml/2006/main" name="3_Office Theme">
  <a:themeElements>
    <a:clrScheme name="Custom 1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Omegapoint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8.xml><?xml version="1.0" encoding="utf-8"?>
<a:theme xmlns:a="http://schemas.openxmlformats.org/drawingml/2006/main" name="4_Office Theme">
  <a:themeElements>
    <a:clrScheme name="Custom 1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Omegapoint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ppt/theme/theme9.xml><?xml version="1.0" encoding="utf-8"?>
<a:theme xmlns:a="http://schemas.openxmlformats.org/drawingml/2006/main" name="5_Office Theme">
  <a:themeElements>
    <a:clrScheme name="Custom 1">
      <a:dk1>
        <a:sysClr val="windowText" lastClr="000000"/>
      </a:dk1>
      <a:lt1>
        <a:sysClr val="window" lastClr="FFFFFF"/>
      </a:lt1>
      <a:dk2>
        <a:srgbClr val="383838"/>
      </a:dk2>
      <a:lt2>
        <a:srgbClr val="EAE9E5"/>
      </a:lt2>
      <a:accent1>
        <a:srgbClr val="003349"/>
      </a:accent1>
      <a:accent2>
        <a:srgbClr val="286166"/>
      </a:accent2>
      <a:accent3>
        <a:srgbClr val="93B0B3"/>
      </a:accent3>
      <a:accent4>
        <a:srgbClr val="D7D2CB"/>
      </a:accent4>
      <a:accent5>
        <a:srgbClr val="F9BC2E"/>
      </a:accent5>
      <a:accent6>
        <a:srgbClr val="E87722"/>
      </a:accent6>
      <a:hlink>
        <a:srgbClr val="0563C1"/>
      </a:hlink>
      <a:folHlink>
        <a:srgbClr val="954F72"/>
      </a:folHlink>
    </a:clrScheme>
    <a:fontScheme name="Omegapoint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ct val="20000"/>
          </a:spcBef>
          <a:buFont typeface="Arial" charset="0"/>
          <a:buNone/>
          <a:defRPr sz="1000" dirty="0">
            <a:solidFill>
              <a:schemeClr val="tx1"/>
            </a:solidFill>
            <a:latin typeface="+mn-lt"/>
            <a:cs typeface="Segoe UI" panose="020B0502040204020203" pitchFamily="34" charset="0"/>
          </a:defRPr>
        </a:defPPr>
      </a:lst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72000" tIns="36000" rIns="72000" bIns="36000" numCol="1" anchor="t" anchorCtr="0" compatLnSpc="1">
        <a:prstTxWarp prst="textNoShape">
          <a:avLst/>
        </a:prstTxWarp>
      </a:bodyPr>
      <a:lstStyle>
        <a:defPPr marL="180975" indent="-180975" algn="l">
          <a:spcBef>
            <a:spcPts val="300"/>
          </a:spcBef>
          <a:spcAft>
            <a:spcPts val="0"/>
          </a:spcAft>
          <a:buClr>
            <a:schemeClr val="accent1"/>
          </a:buClr>
          <a:buFont typeface="Wingdings" panose="05000000000000000000" pitchFamily="2" charset="2"/>
          <a:buChar char="§"/>
          <a:tabLst/>
          <a:defRPr sz="1000" dirty="0">
            <a:latin typeface="+mn-lt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megapoint template new" id="{DA9F20AF-A067-4E82-98CC-63104F0537B1}" vid="{47B05B85-6633-4B39-9A7C-9A72A813C8E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-tema</Template>
  <TotalTime>6502</TotalTime>
  <Words>308</Words>
  <Application>Microsoft Office PowerPoint</Application>
  <PresentationFormat>Widescreen</PresentationFormat>
  <Paragraphs>35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2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49" baseType="lpstr">
      <vt:lpstr>Arial</vt:lpstr>
      <vt:lpstr>Calibri</vt:lpstr>
      <vt:lpstr>Calibri Light</vt:lpstr>
      <vt:lpstr>Century Gothic</vt:lpstr>
      <vt:lpstr>Georgia</vt:lpstr>
      <vt:lpstr>open sans</vt:lpstr>
      <vt:lpstr>Roboto</vt:lpstr>
      <vt:lpstr>Roboto Medium</vt:lpstr>
      <vt:lpstr>Roboto Slab</vt:lpstr>
      <vt:lpstr>Segoe UI</vt:lpstr>
      <vt:lpstr>System Font Regular</vt:lpstr>
      <vt:lpstr>Trebuchet MS</vt:lpstr>
      <vt:lpstr>Volvo Broad Pro</vt:lpstr>
      <vt:lpstr>Volvo Novum</vt:lpstr>
      <vt:lpstr>Volvo Novum Light</vt:lpstr>
      <vt:lpstr>Wingdings</vt:lpstr>
      <vt:lpstr>Omegapoint PPT P3.0-4 (Widescreen)</vt:lpstr>
      <vt:lpstr>1_Omegapoint PPT P3.0-4 (Widescreen)</vt:lpstr>
      <vt:lpstr>Omegapoint-theme-alternatives</vt:lpstr>
      <vt:lpstr>1_Omegapoint-theme-alternatives</vt:lpstr>
      <vt:lpstr>1_Office Theme</vt:lpstr>
      <vt:lpstr>2_Office Theme</vt:lpstr>
      <vt:lpstr>3_Office Theme</vt:lpstr>
      <vt:lpstr>4_Office Theme</vt:lpstr>
      <vt:lpstr>5_Office Theme</vt:lpstr>
      <vt:lpstr>6_Office Theme</vt:lpstr>
      <vt:lpstr>7_Office Theme</vt:lpstr>
      <vt:lpstr>8_Office Theme</vt:lpstr>
      <vt:lpstr>9_Office Theme</vt:lpstr>
      <vt:lpstr>10_Office Theme</vt:lpstr>
      <vt:lpstr>2_Omegapoint-theme-alternatives</vt:lpstr>
      <vt:lpstr>3_Omegapoint-theme-alternatives</vt:lpstr>
      <vt:lpstr>5_Omegapoint-theme-alternatives</vt:lpstr>
      <vt:lpstr>11_Office Theme</vt:lpstr>
      <vt:lpstr>12_Office Theme</vt:lpstr>
      <vt:lpstr>13_Office Theme</vt:lpstr>
      <vt:lpstr>Volvo Cars (dark theme)</vt:lpstr>
      <vt:lpstr>4_Omegapoint-theme-alternatives</vt:lpstr>
      <vt:lpstr>Office-tema</vt:lpstr>
      <vt:lpstr>Custom Design</vt:lpstr>
      <vt:lpstr>think-cell Slide</vt:lpstr>
      <vt:lpstr>Implementera passkeys i .NET och Identity Server </vt:lpstr>
      <vt:lpstr>Agenda </vt:lpstr>
      <vt:lpstr>Passkeys</vt:lpstr>
      <vt:lpstr>WebAuthn</vt:lpstr>
      <vt:lpstr>Registrera passkey</vt:lpstr>
      <vt:lpstr>Logga in med passkey</vt:lpstr>
      <vt:lpstr>IdentityServer?</vt:lpstr>
      <vt:lpstr>Kod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Therese Laurin</dc:creator>
  <cp:lastModifiedBy>Daniel Sandberg</cp:lastModifiedBy>
  <cp:revision>64</cp:revision>
  <cp:lastPrinted>2020-02-19T09:08:18Z</cp:lastPrinted>
  <dcterms:created xsi:type="dcterms:W3CDTF">2019-10-07T11:16:20Z</dcterms:created>
  <dcterms:modified xsi:type="dcterms:W3CDTF">2025-09-17T05:21:54Z</dcterms:modified>
</cp:coreProperties>
</file>